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07" r:id="rId2"/>
    <p:sldId id="308" r:id="rId3"/>
    <p:sldId id="309" r:id="rId4"/>
    <p:sldId id="310" r:id="rId5"/>
    <p:sldId id="311" r:id="rId6"/>
    <p:sldId id="312" r:id="rId7"/>
    <p:sldId id="313" r:id="rId8"/>
    <p:sldId id="314" r:id="rId9"/>
    <p:sldId id="315" r:id="rId10"/>
    <p:sldId id="316" r:id="rId11"/>
    <p:sldId id="318" r:id="rId12"/>
    <p:sldId id="321" r:id="rId13"/>
    <p:sldId id="329" r:id="rId14"/>
    <p:sldId id="325" r:id="rId15"/>
    <p:sldId id="328" r:id="rId16"/>
    <p:sldId id="327" r:id="rId17"/>
    <p:sldId id="319" r:id="rId18"/>
    <p:sldId id="320" r:id="rId19"/>
  </p:sldIdLst>
  <p:sldSz cx="9144000" cy="6858000" type="screen4x3"/>
  <p:notesSz cx="6797675" cy="9926638"/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28" userDrawn="1">
          <p15:clr>
            <a:srgbClr val="A4A3A4"/>
          </p15:clr>
        </p15:guide>
        <p15:guide id="2" pos="30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1EB"/>
    <a:srgbClr val="FCDD2B"/>
    <a:srgbClr val="DE529E"/>
    <a:srgbClr val="4DB849"/>
    <a:srgbClr val="BEBEBE"/>
    <a:srgbClr val="EFEFEF"/>
    <a:srgbClr val="EF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87478" autoAdjust="0"/>
  </p:normalViewPr>
  <p:slideViewPr>
    <p:cSldViewPr snapToGrid="0">
      <p:cViewPr varScale="1">
        <p:scale>
          <a:sx n="69" d="100"/>
          <a:sy n="69" d="100"/>
        </p:scale>
        <p:origin x="1218" y="60"/>
      </p:cViewPr>
      <p:guideLst>
        <p:guide orient="horz" pos="2228"/>
        <p:guide pos="30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9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783D8-4D6E-4868-8768-87181C709540}" type="datetimeFigureOut">
              <a:rPr lang="fr-FR" smtClean="0"/>
              <a:pPr/>
              <a:t>10/04/2018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FR" dirty="0"/>
              <a:t>xx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A5B6D0-FA16-4D29-803F-E1324E5FFB45}" type="slidenum">
              <a:rPr lang="fr-FR" smtClean="0"/>
              <a:pPr/>
              <a:t>‹Nr.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819972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F8AC60-D411-4863-8C76-D60C36C19EE7}" type="datetimeFigureOut">
              <a:rPr lang="fr-FR" smtClean="0"/>
              <a:pPr/>
              <a:t>10/04/2018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FR" dirty="0"/>
              <a:t>xx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491E1B-9F12-455C-8C99-7300775D49AE}" type="slidenum">
              <a:rPr lang="fr-FR" smtClean="0"/>
              <a:pPr/>
              <a:t>‹Nr.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086496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0" dirty="0">
              <a:solidFill>
                <a:srgbClr val="00B1EB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621702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7514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1247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333375"/>
            <a:ext cx="6126163" cy="4594225"/>
          </a:xfrm>
          <a:prstGeom prst="rect">
            <a:avLst/>
          </a:prstGeo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995809" y="5370190"/>
            <a:ext cx="5544616" cy="3960440"/>
          </a:xfrm>
          <a:prstGeom prst="rect">
            <a:avLst/>
          </a:prstGeom>
        </p:spPr>
        <p:txBody>
          <a:bodyPr lIns="89191" tIns="44596" rIns="89191" bIns="44596"/>
          <a:lstStyle/>
          <a:p>
            <a:pPr algn="l"/>
            <a:endParaRPr lang="fr-FR" sz="12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AFNOR Compétences</a:t>
            </a:r>
          </a:p>
          <a:p>
            <a:r>
              <a:rPr lang="fr-FR" dirty="0"/>
              <a:t>Tous droits réservés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fr-FR" dirty="0"/>
          </a:p>
          <a:p>
            <a:r>
              <a:rPr lang="fr-FR" dirty="0"/>
              <a:t>1242 / UAN / V1.2 03-2015</a:t>
            </a:r>
          </a:p>
          <a:p>
            <a:r>
              <a:rPr lang="fr-FR" dirty="0"/>
              <a:t> page </a:t>
            </a:r>
            <a:fld id="{1474DBB6-94D6-4A37-A1A8-E72EA0766C9F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265525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endParaRPr lang="fr-FR" sz="12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xxx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84983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b="0" baseline="0" dirty="0">
              <a:sym typeface="Wingdings" panose="05000000000000000000" pitchFamily="2" charset="2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xxx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72922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01534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="0" baseline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10236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2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622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200" b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010473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auto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</a:pPr>
            <a:endParaRPr lang="fr-FR" b="0" dirty="0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5296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b="0" dirty="0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581746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effectLst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5737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52020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200" b="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64455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03248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0" dirty="0">
              <a:solidFill>
                <a:srgbClr val="00B1EB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/>
              <a:t>xxx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491E1B-9F12-455C-8C99-7300775D49AE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0239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Picture Placeholder 27"/>
          <p:cNvSpPr>
            <a:spLocks noGrp="1"/>
          </p:cNvSpPr>
          <p:nvPr>
            <p:ph type="pic" sz="quarter" idx="16"/>
          </p:nvPr>
        </p:nvSpPr>
        <p:spPr>
          <a:xfrm>
            <a:off x="3175" y="0"/>
            <a:ext cx="4993556" cy="547734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4996730" y="-1"/>
            <a:ext cx="4147270" cy="547734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2181747" y="5708499"/>
            <a:ext cx="1756" cy="851217"/>
          </a:xfrm>
          <a:prstGeom prst="line">
            <a:avLst/>
          </a:prstGeom>
          <a:noFill/>
          <a:ln w="3175" cap="flat">
            <a:solidFill>
              <a:srgbClr val="00000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Freeform 53"/>
          <p:cNvSpPr>
            <a:spLocks/>
          </p:cNvSpPr>
          <p:nvPr userDrawn="1"/>
        </p:nvSpPr>
        <p:spPr bwMode="auto">
          <a:xfrm>
            <a:off x="5258834" y="2163870"/>
            <a:ext cx="537056" cy="535302"/>
          </a:xfrm>
          <a:custGeom>
            <a:avLst/>
            <a:gdLst/>
            <a:ahLst/>
            <a:cxnLst>
              <a:cxn ang="0">
                <a:pos x="306" y="0"/>
              </a:cxn>
              <a:cxn ang="0">
                <a:pos x="0" y="0"/>
              </a:cxn>
              <a:cxn ang="0">
                <a:pos x="0" y="305"/>
              </a:cxn>
              <a:cxn ang="0">
                <a:pos x="48" y="259"/>
              </a:cxn>
              <a:cxn ang="0">
                <a:pos x="48" y="47"/>
              </a:cxn>
              <a:cxn ang="0">
                <a:pos x="260" y="47"/>
              </a:cxn>
              <a:cxn ang="0">
                <a:pos x="306" y="0"/>
              </a:cxn>
            </a:cxnLst>
            <a:rect l="0" t="0" r="r" b="b"/>
            <a:pathLst>
              <a:path w="306" h="305">
                <a:moveTo>
                  <a:pt x="306" y="0"/>
                </a:moveTo>
                <a:lnTo>
                  <a:pt x="0" y="0"/>
                </a:lnTo>
                <a:lnTo>
                  <a:pt x="0" y="305"/>
                </a:lnTo>
                <a:lnTo>
                  <a:pt x="48" y="259"/>
                </a:lnTo>
                <a:lnTo>
                  <a:pt x="48" y="47"/>
                </a:lnTo>
                <a:lnTo>
                  <a:pt x="260" y="47"/>
                </a:lnTo>
                <a:lnTo>
                  <a:pt x="306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23318" y="2311297"/>
            <a:ext cx="3507037" cy="243896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kumimoji="0" lang="fr-FR" sz="16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itre de la présentation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5535" y="3487029"/>
            <a:ext cx="3006207" cy="775596"/>
          </a:xfrm>
        </p:spPr>
        <p:txBody>
          <a:bodyPr anchor="b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text</a:t>
            </a:r>
            <a:endParaRPr lang="fr-FR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2057922" y="4257675"/>
            <a:ext cx="2393820" cy="742950"/>
          </a:xfrm>
        </p:spPr>
        <p:txBody>
          <a:bodyPr/>
          <a:lstStyle>
            <a:lvl1pPr algn="l">
              <a:lnSpc>
                <a:spcPct val="90000"/>
              </a:lnSpc>
              <a:spcAft>
                <a:spcPts val="0"/>
              </a:spcAft>
              <a:defRPr sz="1800" b="0" cap="all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  <a:endParaRPr lang="fr-FR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533400" y="5708499"/>
            <a:ext cx="1462483" cy="152551"/>
          </a:xfrm>
        </p:spPr>
        <p:txBody>
          <a:bodyPr anchor="b"/>
          <a:lstStyle>
            <a:lvl1pPr algn="r"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edit text</a:t>
            </a:r>
            <a:endParaRPr lang="fr-FR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2369366" y="5708499"/>
            <a:ext cx="1612083" cy="152551"/>
          </a:xfrm>
        </p:spPr>
        <p:txBody>
          <a:bodyPr anchor="b"/>
          <a:lstStyle>
            <a:lvl1pPr algn="l"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Click to edit text</a:t>
            </a:r>
            <a:endParaRPr lang="fr-FR" dirty="0"/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533400" y="5878142"/>
            <a:ext cx="1462483" cy="349250"/>
          </a:xfrm>
        </p:spPr>
        <p:txBody>
          <a:bodyPr anchor="t"/>
          <a:lstStyle>
            <a:lvl1pPr algn="r"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/>
              <a:t>Click to edit text</a:t>
            </a:r>
            <a:endParaRPr lang="fr-FR" dirty="0"/>
          </a:p>
        </p:txBody>
      </p:sp>
      <p:sp>
        <p:nvSpPr>
          <p:cNvPr id="18" name="Text Placehold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2369366" y="5878142"/>
            <a:ext cx="1612083" cy="349250"/>
          </a:xfrm>
        </p:spPr>
        <p:txBody>
          <a:bodyPr anchor="t"/>
          <a:lstStyle>
            <a:lvl1pPr algn="l"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/>
              <a:t>Click to edit text</a:t>
            </a:r>
            <a:endParaRPr lang="fr-FR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5423318" y="2555193"/>
            <a:ext cx="3507037" cy="1506537"/>
          </a:xfrm>
        </p:spPr>
        <p:txBody>
          <a:bodyPr/>
          <a:lstStyle>
            <a:lvl1pPr algn="l">
              <a:defRPr b="0" cap="all" baseline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0" y="0"/>
            <a:ext cx="9140782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8" name="Freeform 70"/>
          <p:cNvSpPr>
            <a:spLocks/>
          </p:cNvSpPr>
          <p:nvPr userDrawn="1"/>
        </p:nvSpPr>
        <p:spPr bwMode="auto">
          <a:xfrm>
            <a:off x="2755419" y="2432649"/>
            <a:ext cx="752357" cy="754115"/>
          </a:xfrm>
          <a:custGeom>
            <a:avLst/>
            <a:gdLst/>
            <a:ahLst/>
            <a:cxnLst>
              <a:cxn ang="0">
                <a:pos x="428" y="0"/>
              </a:cxn>
              <a:cxn ang="0">
                <a:pos x="0" y="0"/>
              </a:cxn>
              <a:cxn ang="0">
                <a:pos x="0" y="429"/>
              </a:cxn>
              <a:cxn ang="0">
                <a:pos x="65" y="363"/>
              </a:cxn>
              <a:cxn ang="0">
                <a:pos x="65" y="66"/>
              </a:cxn>
              <a:cxn ang="0">
                <a:pos x="363" y="66"/>
              </a:cxn>
              <a:cxn ang="0">
                <a:pos x="428" y="0"/>
              </a:cxn>
            </a:cxnLst>
            <a:rect l="0" t="0" r="r" b="b"/>
            <a:pathLst>
              <a:path w="428" h="429">
                <a:moveTo>
                  <a:pt x="428" y="0"/>
                </a:moveTo>
                <a:lnTo>
                  <a:pt x="0" y="0"/>
                </a:lnTo>
                <a:lnTo>
                  <a:pt x="0" y="429"/>
                </a:lnTo>
                <a:lnTo>
                  <a:pt x="65" y="363"/>
                </a:lnTo>
                <a:lnTo>
                  <a:pt x="65" y="66"/>
                </a:lnTo>
                <a:lnTo>
                  <a:pt x="363" y="66"/>
                </a:lnTo>
                <a:lnTo>
                  <a:pt x="428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9" name="Freeform 55"/>
          <p:cNvSpPr>
            <a:spLocks noEditPoints="1"/>
          </p:cNvSpPr>
          <p:nvPr userDrawn="1"/>
        </p:nvSpPr>
        <p:spPr bwMode="auto">
          <a:xfrm>
            <a:off x="7343281" y="5754131"/>
            <a:ext cx="1379498" cy="405425"/>
          </a:xfrm>
          <a:custGeom>
            <a:avLst/>
            <a:gdLst/>
            <a:ahLst/>
            <a:cxnLst>
              <a:cxn ang="0">
                <a:pos x="770" y="210"/>
              </a:cxn>
              <a:cxn ang="0">
                <a:pos x="752" y="213"/>
              </a:cxn>
              <a:cxn ang="0">
                <a:pos x="785" y="230"/>
              </a:cxn>
              <a:cxn ang="0">
                <a:pos x="692" y="210"/>
              </a:cxn>
              <a:cxn ang="0">
                <a:pos x="685" y="210"/>
              </a:cxn>
              <a:cxn ang="0">
                <a:pos x="665" y="230"/>
              </a:cxn>
              <a:cxn ang="0">
                <a:pos x="616" y="194"/>
              </a:cxn>
              <a:cxn ang="0">
                <a:pos x="655" y="194"/>
              </a:cxn>
              <a:cxn ang="0">
                <a:pos x="591" y="202"/>
              </a:cxn>
              <a:cxn ang="0">
                <a:pos x="586" y="213"/>
              </a:cxn>
              <a:cxn ang="0">
                <a:pos x="603" y="218"/>
              </a:cxn>
              <a:cxn ang="0">
                <a:pos x="549" y="207"/>
              </a:cxn>
              <a:cxn ang="0">
                <a:pos x="549" y="189"/>
              </a:cxn>
              <a:cxn ang="0">
                <a:pos x="533" y="224"/>
              </a:cxn>
              <a:cxn ang="0">
                <a:pos x="511" y="230"/>
              </a:cxn>
              <a:cxn ang="0">
                <a:pos x="477" y="190"/>
              </a:cxn>
              <a:cxn ang="0">
                <a:pos x="477" y="226"/>
              </a:cxn>
              <a:cxn ang="0">
                <a:pos x="436" y="194"/>
              </a:cxn>
              <a:cxn ang="0">
                <a:pos x="414" y="230"/>
              </a:cxn>
              <a:cxn ang="0">
                <a:pos x="458" y="230"/>
              </a:cxn>
              <a:cxn ang="0">
                <a:pos x="376" y="223"/>
              </a:cxn>
              <a:cxn ang="0">
                <a:pos x="349" y="230"/>
              </a:cxn>
              <a:cxn ang="0">
                <a:pos x="365" y="211"/>
              </a:cxn>
              <a:cxn ang="0">
                <a:pos x="394" y="195"/>
              </a:cxn>
              <a:cxn ang="0">
                <a:pos x="391" y="190"/>
              </a:cxn>
              <a:cxn ang="0">
                <a:pos x="328" y="201"/>
              </a:cxn>
              <a:cxn ang="0">
                <a:pos x="331" y="193"/>
              </a:cxn>
              <a:cxn ang="0">
                <a:pos x="309" y="213"/>
              </a:cxn>
              <a:cxn ang="0">
                <a:pos x="333" y="219"/>
              </a:cxn>
              <a:cxn ang="0">
                <a:pos x="266" y="193"/>
              </a:cxn>
              <a:cxn ang="0">
                <a:pos x="266" y="231"/>
              </a:cxn>
              <a:cxn ang="0">
                <a:pos x="224" y="223"/>
              </a:cxn>
              <a:cxn ang="0">
                <a:pos x="191" y="230"/>
              </a:cxn>
              <a:cxn ang="0">
                <a:pos x="206" y="210"/>
              </a:cxn>
              <a:cxn ang="0">
                <a:pos x="224" y="207"/>
              </a:cxn>
              <a:cxn ang="0">
                <a:pos x="39" y="139"/>
              </a:cxn>
              <a:cxn ang="0">
                <a:pos x="84" y="143"/>
              </a:cxn>
              <a:cxn ang="0">
                <a:pos x="56" y="53"/>
              </a:cxn>
              <a:cxn ang="0">
                <a:pos x="1" y="125"/>
              </a:cxn>
              <a:cxn ang="0">
                <a:pos x="116" y="125"/>
              </a:cxn>
              <a:cxn ang="0">
                <a:pos x="186" y="18"/>
              </a:cxn>
              <a:cxn ang="0">
                <a:pos x="168" y="7"/>
              </a:cxn>
              <a:cxn ang="0">
                <a:pos x="127" y="79"/>
              </a:cxn>
              <a:cxn ang="0">
                <a:pos x="465" y="49"/>
              </a:cxn>
              <a:cxn ang="0">
                <a:pos x="423" y="139"/>
              </a:cxn>
              <a:cxn ang="0">
                <a:pos x="382" y="83"/>
              </a:cxn>
              <a:cxn ang="0">
                <a:pos x="408" y="65"/>
              </a:cxn>
              <a:cxn ang="0">
                <a:pos x="354" y="151"/>
              </a:cxn>
              <a:cxn ang="0">
                <a:pos x="465" y="97"/>
              </a:cxn>
              <a:cxn ang="0">
                <a:pos x="482" y="156"/>
              </a:cxn>
              <a:cxn ang="0">
                <a:pos x="563" y="53"/>
              </a:cxn>
              <a:cxn ang="0">
                <a:pos x="285" y="156"/>
              </a:cxn>
              <a:cxn ang="0">
                <a:pos x="258" y="73"/>
              </a:cxn>
              <a:cxn ang="0">
                <a:pos x="225" y="103"/>
              </a:cxn>
            </a:cxnLst>
            <a:rect l="0" t="0" r="r" b="b"/>
            <a:pathLst>
              <a:path w="785" h="231">
                <a:moveTo>
                  <a:pt x="779" y="190"/>
                </a:moveTo>
                <a:cubicBezTo>
                  <a:pt x="779" y="207"/>
                  <a:pt x="779" y="207"/>
                  <a:pt x="779" y="207"/>
                </a:cubicBezTo>
                <a:cubicBezTo>
                  <a:pt x="779" y="213"/>
                  <a:pt x="779" y="218"/>
                  <a:pt x="779" y="223"/>
                </a:cubicBezTo>
                <a:cubicBezTo>
                  <a:pt x="779" y="223"/>
                  <a:pt x="779" y="223"/>
                  <a:pt x="779" y="223"/>
                </a:cubicBezTo>
                <a:cubicBezTo>
                  <a:pt x="777" y="219"/>
                  <a:pt x="774" y="215"/>
                  <a:pt x="770" y="210"/>
                </a:cubicBezTo>
                <a:cubicBezTo>
                  <a:pt x="753" y="190"/>
                  <a:pt x="753" y="190"/>
                  <a:pt x="753" y="190"/>
                </a:cubicBezTo>
                <a:cubicBezTo>
                  <a:pt x="746" y="190"/>
                  <a:pt x="746" y="190"/>
                  <a:pt x="746" y="190"/>
                </a:cubicBezTo>
                <a:cubicBezTo>
                  <a:pt x="746" y="230"/>
                  <a:pt x="746" y="230"/>
                  <a:pt x="746" y="230"/>
                </a:cubicBezTo>
                <a:cubicBezTo>
                  <a:pt x="752" y="230"/>
                  <a:pt x="752" y="230"/>
                  <a:pt x="752" y="230"/>
                </a:cubicBezTo>
                <a:cubicBezTo>
                  <a:pt x="752" y="213"/>
                  <a:pt x="752" y="213"/>
                  <a:pt x="752" y="213"/>
                </a:cubicBezTo>
                <a:cubicBezTo>
                  <a:pt x="752" y="206"/>
                  <a:pt x="752" y="201"/>
                  <a:pt x="752" y="196"/>
                </a:cubicBezTo>
                <a:cubicBezTo>
                  <a:pt x="752" y="196"/>
                  <a:pt x="752" y="196"/>
                  <a:pt x="752" y="196"/>
                </a:cubicBezTo>
                <a:cubicBezTo>
                  <a:pt x="754" y="201"/>
                  <a:pt x="758" y="205"/>
                  <a:pt x="761" y="210"/>
                </a:cubicBezTo>
                <a:cubicBezTo>
                  <a:pt x="778" y="230"/>
                  <a:pt x="778" y="230"/>
                  <a:pt x="778" y="230"/>
                </a:cubicBezTo>
                <a:cubicBezTo>
                  <a:pt x="785" y="230"/>
                  <a:pt x="785" y="230"/>
                  <a:pt x="785" y="230"/>
                </a:cubicBezTo>
                <a:cubicBezTo>
                  <a:pt x="785" y="190"/>
                  <a:pt x="785" y="190"/>
                  <a:pt x="785" y="190"/>
                </a:cubicBezTo>
                <a:lnTo>
                  <a:pt x="779" y="190"/>
                </a:lnTo>
                <a:close/>
                <a:moveTo>
                  <a:pt x="708" y="227"/>
                </a:moveTo>
                <a:cubicBezTo>
                  <a:pt x="708" y="227"/>
                  <a:pt x="708" y="227"/>
                  <a:pt x="708" y="227"/>
                </a:cubicBezTo>
                <a:cubicBezTo>
                  <a:pt x="698" y="227"/>
                  <a:pt x="692" y="219"/>
                  <a:pt x="692" y="210"/>
                </a:cubicBezTo>
                <a:cubicBezTo>
                  <a:pt x="692" y="201"/>
                  <a:pt x="697" y="193"/>
                  <a:pt x="709" y="193"/>
                </a:cubicBezTo>
                <a:cubicBezTo>
                  <a:pt x="720" y="193"/>
                  <a:pt x="725" y="202"/>
                  <a:pt x="725" y="210"/>
                </a:cubicBezTo>
                <a:cubicBezTo>
                  <a:pt x="725" y="219"/>
                  <a:pt x="719" y="227"/>
                  <a:pt x="708" y="227"/>
                </a:cubicBezTo>
                <a:moveTo>
                  <a:pt x="709" y="189"/>
                </a:moveTo>
                <a:cubicBezTo>
                  <a:pt x="695" y="189"/>
                  <a:pt x="685" y="197"/>
                  <a:pt x="685" y="210"/>
                </a:cubicBezTo>
                <a:cubicBezTo>
                  <a:pt x="685" y="223"/>
                  <a:pt x="694" y="231"/>
                  <a:pt x="708" y="231"/>
                </a:cubicBezTo>
                <a:cubicBezTo>
                  <a:pt x="708" y="231"/>
                  <a:pt x="708" y="231"/>
                  <a:pt x="708" y="231"/>
                </a:cubicBezTo>
                <a:cubicBezTo>
                  <a:pt x="722" y="231"/>
                  <a:pt x="733" y="223"/>
                  <a:pt x="733" y="210"/>
                </a:cubicBezTo>
                <a:cubicBezTo>
                  <a:pt x="733" y="197"/>
                  <a:pt x="723" y="189"/>
                  <a:pt x="709" y="189"/>
                </a:cubicBezTo>
                <a:moveTo>
                  <a:pt x="665" y="230"/>
                </a:moveTo>
                <a:cubicBezTo>
                  <a:pt x="671" y="230"/>
                  <a:pt x="671" y="230"/>
                  <a:pt x="671" y="230"/>
                </a:cubicBezTo>
                <a:cubicBezTo>
                  <a:pt x="671" y="190"/>
                  <a:pt x="671" y="190"/>
                  <a:pt x="671" y="190"/>
                </a:cubicBezTo>
                <a:cubicBezTo>
                  <a:pt x="665" y="190"/>
                  <a:pt x="665" y="190"/>
                  <a:pt x="665" y="190"/>
                </a:cubicBezTo>
                <a:lnTo>
                  <a:pt x="665" y="230"/>
                </a:lnTo>
                <a:close/>
                <a:moveTo>
                  <a:pt x="616" y="194"/>
                </a:moveTo>
                <a:cubicBezTo>
                  <a:pt x="632" y="194"/>
                  <a:pt x="632" y="194"/>
                  <a:pt x="632" y="194"/>
                </a:cubicBezTo>
                <a:cubicBezTo>
                  <a:pt x="632" y="230"/>
                  <a:pt x="632" y="230"/>
                  <a:pt x="632" y="230"/>
                </a:cubicBezTo>
                <a:cubicBezTo>
                  <a:pt x="639" y="230"/>
                  <a:pt x="639" y="230"/>
                  <a:pt x="639" y="230"/>
                </a:cubicBezTo>
                <a:cubicBezTo>
                  <a:pt x="639" y="194"/>
                  <a:pt x="639" y="194"/>
                  <a:pt x="639" y="194"/>
                </a:cubicBezTo>
                <a:cubicBezTo>
                  <a:pt x="655" y="194"/>
                  <a:pt x="655" y="194"/>
                  <a:pt x="655" y="194"/>
                </a:cubicBezTo>
                <a:cubicBezTo>
                  <a:pt x="655" y="190"/>
                  <a:pt x="655" y="190"/>
                  <a:pt x="655" y="190"/>
                </a:cubicBezTo>
                <a:cubicBezTo>
                  <a:pt x="616" y="190"/>
                  <a:pt x="616" y="190"/>
                  <a:pt x="616" y="190"/>
                </a:cubicBezTo>
                <a:lnTo>
                  <a:pt x="616" y="194"/>
                </a:lnTo>
                <a:close/>
                <a:moveTo>
                  <a:pt x="586" y="213"/>
                </a:moveTo>
                <a:cubicBezTo>
                  <a:pt x="591" y="202"/>
                  <a:pt x="591" y="202"/>
                  <a:pt x="591" y="202"/>
                </a:cubicBezTo>
                <a:cubicBezTo>
                  <a:pt x="592" y="199"/>
                  <a:pt x="593" y="197"/>
                  <a:pt x="593" y="194"/>
                </a:cubicBezTo>
                <a:cubicBezTo>
                  <a:pt x="594" y="194"/>
                  <a:pt x="594" y="194"/>
                  <a:pt x="594" y="194"/>
                </a:cubicBezTo>
                <a:cubicBezTo>
                  <a:pt x="595" y="197"/>
                  <a:pt x="595" y="199"/>
                  <a:pt x="596" y="202"/>
                </a:cubicBezTo>
                <a:cubicBezTo>
                  <a:pt x="602" y="213"/>
                  <a:pt x="602" y="213"/>
                  <a:pt x="602" y="213"/>
                </a:cubicBezTo>
                <a:lnTo>
                  <a:pt x="586" y="213"/>
                </a:lnTo>
                <a:close/>
                <a:moveTo>
                  <a:pt x="590" y="190"/>
                </a:moveTo>
                <a:cubicBezTo>
                  <a:pt x="572" y="230"/>
                  <a:pt x="572" y="230"/>
                  <a:pt x="572" y="230"/>
                </a:cubicBezTo>
                <a:cubicBezTo>
                  <a:pt x="579" y="230"/>
                  <a:pt x="579" y="230"/>
                  <a:pt x="579" y="230"/>
                </a:cubicBezTo>
                <a:cubicBezTo>
                  <a:pt x="584" y="218"/>
                  <a:pt x="584" y="218"/>
                  <a:pt x="584" y="218"/>
                </a:cubicBezTo>
                <a:cubicBezTo>
                  <a:pt x="603" y="218"/>
                  <a:pt x="603" y="218"/>
                  <a:pt x="603" y="218"/>
                </a:cubicBezTo>
                <a:cubicBezTo>
                  <a:pt x="609" y="230"/>
                  <a:pt x="609" y="230"/>
                  <a:pt x="609" y="230"/>
                </a:cubicBezTo>
                <a:cubicBezTo>
                  <a:pt x="616" y="230"/>
                  <a:pt x="616" y="230"/>
                  <a:pt x="616" y="230"/>
                </a:cubicBezTo>
                <a:cubicBezTo>
                  <a:pt x="598" y="190"/>
                  <a:pt x="598" y="190"/>
                  <a:pt x="598" y="190"/>
                </a:cubicBezTo>
                <a:lnTo>
                  <a:pt x="590" y="190"/>
                </a:lnTo>
                <a:close/>
                <a:moveTo>
                  <a:pt x="549" y="207"/>
                </a:moveTo>
                <a:cubicBezTo>
                  <a:pt x="542" y="205"/>
                  <a:pt x="539" y="203"/>
                  <a:pt x="539" y="199"/>
                </a:cubicBezTo>
                <a:cubicBezTo>
                  <a:pt x="539" y="197"/>
                  <a:pt x="542" y="193"/>
                  <a:pt x="549" y="193"/>
                </a:cubicBezTo>
                <a:cubicBezTo>
                  <a:pt x="554" y="193"/>
                  <a:pt x="557" y="194"/>
                  <a:pt x="559" y="195"/>
                </a:cubicBezTo>
                <a:cubicBezTo>
                  <a:pt x="561" y="191"/>
                  <a:pt x="561" y="191"/>
                  <a:pt x="561" y="191"/>
                </a:cubicBezTo>
                <a:cubicBezTo>
                  <a:pt x="558" y="190"/>
                  <a:pt x="554" y="189"/>
                  <a:pt x="549" y="189"/>
                </a:cubicBezTo>
                <a:cubicBezTo>
                  <a:pt x="539" y="189"/>
                  <a:pt x="532" y="194"/>
                  <a:pt x="532" y="200"/>
                </a:cubicBezTo>
                <a:cubicBezTo>
                  <a:pt x="532" y="206"/>
                  <a:pt x="537" y="209"/>
                  <a:pt x="546" y="212"/>
                </a:cubicBezTo>
                <a:cubicBezTo>
                  <a:pt x="553" y="214"/>
                  <a:pt x="556" y="216"/>
                  <a:pt x="556" y="220"/>
                </a:cubicBezTo>
                <a:cubicBezTo>
                  <a:pt x="556" y="224"/>
                  <a:pt x="552" y="227"/>
                  <a:pt x="545" y="227"/>
                </a:cubicBezTo>
                <a:cubicBezTo>
                  <a:pt x="540" y="227"/>
                  <a:pt x="536" y="225"/>
                  <a:pt x="533" y="224"/>
                </a:cubicBezTo>
                <a:cubicBezTo>
                  <a:pt x="531" y="228"/>
                  <a:pt x="531" y="228"/>
                  <a:pt x="531" y="228"/>
                </a:cubicBezTo>
                <a:cubicBezTo>
                  <a:pt x="534" y="230"/>
                  <a:pt x="539" y="231"/>
                  <a:pt x="544" y="231"/>
                </a:cubicBezTo>
                <a:cubicBezTo>
                  <a:pt x="557" y="231"/>
                  <a:pt x="563" y="225"/>
                  <a:pt x="563" y="219"/>
                </a:cubicBezTo>
                <a:cubicBezTo>
                  <a:pt x="563" y="213"/>
                  <a:pt x="558" y="210"/>
                  <a:pt x="549" y="207"/>
                </a:cubicBezTo>
                <a:moveTo>
                  <a:pt x="511" y="230"/>
                </a:moveTo>
                <a:cubicBezTo>
                  <a:pt x="518" y="230"/>
                  <a:pt x="518" y="230"/>
                  <a:pt x="518" y="230"/>
                </a:cubicBezTo>
                <a:cubicBezTo>
                  <a:pt x="518" y="190"/>
                  <a:pt x="518" y="190"/>
                  <a:pt x="518" y="190"/>
                </a:cubicBezTo>
                <a:cubicBezTo>
                  <a:pt x="511" y="190"/>
                  <a:pt x="511" y="190"/>
                  <a:pt x="511" y="190"/>
                </a:cubicBezTo>
                <a:lnTo>
                  <a:pt x="511" y="230"/>
                </a:lnTo>
                <a:close/>
                <a:moveTo>
                  <a:pt x="477" y="190"/>
                </a:moveTo>
                <a:cubicBezTo>
                  <a:pt x="470" y="190"/>
                  <a:pt x="470" y="190"/>
                  <a:pt x="470" y="190"/>
                </a:cubicBezTo>
                <a:cubicBezTo>
                  <a:pt x="470" y="230"/>
                  <a:pt x="470" y="230"/>
                  <a:pt x="470" y="230"/>
                </a:cubicBezTo>
                <a:cubicBezTo>
                  <a:pt x="500" y="230"/>
                  <a:pt x="500" y="230"/>
                  <a:pt x="500" y="230"/>
                </a:cubicBezTo>
                <a:cubicBezTo>
                  <a:pt x="500" y="226"/>
                  <a:pt x="500" y="226"/>
                  <a:pt x="500" y="226"/>
                </a:cubicBezTo>
                <a:cubicBezTo>
                  <a:pt x="477" y="226"/>
                  <a:pt x="477" y="226"/>
                  <a:pt x="477" y="226"/>
                </a:cubicBezTo>
                <a:lnTo>
                  <a:pt x="477" y="190"/>
                </a:lnTo>
                <a:close/>
                <a:moveTo>
                  <a:pt x="428" y="213"/>
                </a:moveTo>
                <a:cubicBezTo>
                  <a:pt x="433" y="202"/>
                  <a:pt x="433" y="202"/>
                  <a:pt x="433" y="202"/>
                </a:cubicBezTo>
                <a:cubicBezTo>
                  <a:pt x="434" y="199"/>
                  <a:pt x="435" y="197"/>
                  <a:pt x="436" y="194"/>
                </a:cubicBezTo>
                <a:cubicBezTo>
                  <a:pt x="436" y="194"/>
                  <a:pt x="436" y="194"/>
                  <a:pt x="436" y="194"/>
                </a:cubicBezTo>
                <a:cubicBezTo>
                  <a:pt x="437" y="197"/>
                  <a:pt x="438" y="199"/>
                  <a:pt x="439" y="202"/>
                </a:cubicBezTo>
                <a:cubicBezTo>
                  <a:pt x="444" y="213"/>
                  <a:pt x="444" y="213"/>
                  <a:pt x="444" y="213"/>
                </a:cubicBezTo>
                <a:lnTo>
                  <a:pt x="428" y="213"/>
                </a:lnTo>
                <a:close/>
                <a:moveTo>
                  <a:pt x="432" y="190"/>
                </a:moveTo>
                <a:cubicBezTo>
                  <a:pt x="414" y="230"/>
                  <a:pt x="414" y="230"/>
                  <a:pt x="414" y="230"/>
                </a:cubicBezTo>
                <a:cubicBezTo>
                  <a:pt x="421" y="230"/>
                  <a:pt x="421" y="230"/>
                  <a:pt x="421" y="230"/>
                </a:cubicBezTo>
                <a:cubicBezTo>
                  <a:pt x="427" y="218"/>
                  <a:pt x="427" y="218"/>
                  <a:pt x="427" y="218"/>
                </a:cubicBezTo>
                <a:cubicBezTo>
                  <a:pt x="445" y="218"/>
                  <a:pt x="445" y="218"/>
                  <a:pt x="445" y="218"/>
                </a:cubicBezTo>
                <a:cubicBezTo>
                  <a:pt x="451" y="230"/>
                  <a:pt x="451" y="230"/>
                  <a:pt x="451" y="230"/>
                </a:cubicBezTo>
                <a:cubicBezTo>
                  <a:pt x="458" y="230"/>
                  <a:pt x="458" y="230"/>
                  <a:pt x="458" y="230"/>
                </a:cubicBezTo>
                <a:cubicBezTo>
                  <a:pt x="440" y="190"/>
                  <a:pt x="440" y="190"/>
                  <a:pt x="440" y="190"/>
                </a:cubicBezTo>
                <a:lnTo>
                  <a:pt x="432" y="190"/>
                </a:lnTo>
                <a:close/>
                <a:moveTo>
                  <a:pt x="391" y="190"/>
                </a:moveTo>
                <a:cubicBezTo>
                  <a:pt x="382" y="209"/>
                  <a:pt x="382" y="209"/>
                  <a:pt x="382" y="209"/>
                </a:cubicBezTo>
                <a:cubicBezTo>
                  <a:pt x="379" y="214"/>
                  <a:pt x="378" y="219"/>
                  <a:pt x="376" y="223"/>
                </a:cubicBezTo>
                <a:cubicBezTo>
                  <a:pt x="376" y="223"/>
                  <a:pt x="376" y="223"/>
                  <a:pt x="376" y="223"/>
                </a:cubicBezTo>
                <a:cubicBezTo>
                  <a:pt x="375" y="219"/>
                  <a:pt x="373" y="214"/>
                  <a:pt x="371" y="209"/>
                </a:cubicBezTo>
                <a:cubicBezTo>
                  <a:pt x="362" y="190"/>
                  <a:pt x="362" y="190"/>
                  <a:pt x="362" y="190"/>
                </a:cubicBezTo>
                <a:cubicBezTo>
                  <a:pt x="353" y="190"/>
                  <a:pt x="353" y="190"/>
                  <a:pt x="353" y="190"/>
                </a:cubicBezTo>
                <a:cubicBezTo>
                  <a:pt x="349" y="230"/>
                  <a:pt x="349" y="230"/>
                  <a:pt x="349" y="230"/>
                </a:cubicBezTo>
                <a:cubicBezTo>
                  <a:pt x="356" y="230"/>
                  <a:pt x="356" y="230"/>
                  <a:pt x="356" y="230"/>
                </a:cubicBezTo>
                <a:cubicBezTo>
                  <a:pt x="357" y="213"/>
                  <a:pt x="357" y="213"/>
                  <a:pt x="357" y="213"/>
                </a:cubicBezTo>
                <a:cubicBezTo>
                  <a:pt x="358" y="207"/>
                  <a:pt x="358" y="200"/>
                  <a:pt x="358" y="195"/>
                </a:cubicBezTo>
                <a:cubicBezTo>
                  <a:pt x="359" y="195"/>
                  <a:pt x="359" y="195"/>
                  <a:pt x="359" y="195"/>
                </a:cubicBezTo>
                <a:cubicBezTo>
                  <a:pt x="360" y="200"/>
                  <a:pt x="362" y="205"/>
                  <a:pt x="365" y="211"/>
                </a:cubicBezTo>
                <a:cubicBezTo>
                  <a:pt x="373" y="230"/>
                  <a:pt x="373" y="230"/>
                  <a:pt x="373" y="230"/>
                </a:cubicBezTo>
                <a:cubicBezTo>
                  <a:pt x="378" y="230"/>
                  <a:pt x="378" y="230"/>
                  <a:pt x="378" y="230"/>
                </a:cubicBezTo>
                <a:cubicBezTo>
                  <a:pt x="388" y="210"/>
                  <a:pt x="388" y="210"/>
                  <a:pt x="388" y="210"/>
                </a:cubicBezTo>
                <a:cubicBezTo>
                  <a:pt x="390" y="205"/>
                  <a:pt x="392" y="200"/>
                  <a:pt x="394" y="195"/>
                </a:cubicBezTo>
                <a:cubicBezTo>
                  <a:pt x="394" y="195"/>
                  <a:pt x="394" y="195"/>
                  <a:pt x="394" y="195"/>
                </a:cubicBezTo>
                <a:cubicBezTo>
                  <a:pt x="394" y="200"/>
                  <a:pt x="395" y="207"/>
                  <a:pt x="395" y="212"/>
                </a:cubicBezTo>
                <a:cubicBezTo>
                  <a:pt x="396" y="230"/>
                  <a:pt x="396" y="230"/>
                  <a:pt x="396" y="230"/>
                </a:cubicBezTo>
                <a:cubicBezTo>
                  <a:pt x="403" y="230"/>
                  <a:pt x="403" y="230"/>
                  <a:pt x="403" y="230"/>
                </a:cubicBezTo>
                <a:cubicBezTo>
                  <a:pt x="400" y="190"/>
                  <a:pt x="400" y="190"/>
                  <a:pt x="400" y="190"/>
                </a:cubicBezTo>
                <a:lnTo>
                  <a:pt x="391" y="190"/>
                </a:lnTo>
                <a:close/>
                <a:moveTo>
                  <a:pt x="316" y="209"/>
                </a:moveTo>
                <a:cubicBezTo>
                  <a:pt x="309" y="209"/>
                  <a:pt x="309" y="209"/>
                  <a:pt x="309" y="209"/>
                </a:cubicBezTo>
                <a:cubicBezTo>
                  <a:pt x="309" y="194"/>
                  <a:pt x="309" y="194"/>
                  <a:pt x="309" y="194"/>
                </a:cubicBezTo>
                <a:cubicBezTo>
                  <a:pt x="310" y="194"/>
                  <a:pt x="313" y="193"/>
                  <a:pt x="316" y="193"/>
                </a:cubicBezTo>
                <a:cubicBezTo>
                  <a:pt x="323" y="193"/>
                  <a:pt x="328" y="196"/>
                  <a:pt x="328" y="201"/>
                </a:cubicBezTo>
                <a:cubicBezTo>
                  <a:pt x="328" y="206"/>
                  <a:pt x="323" y="209"/>
                  <a:pt x="316" y="209"/>
                </a:cubicBezTo>
                <a:moveTo>
                  <a:pt x="325" y="211"/>
                </a:moveTo>
                <a:cubicBezTo>
                  <a:pt x="325" y="211"/>
                  <a:pt x="325" y="211"/>
                  <a:pt x="325" y="211"/>
                </a:cubicBezTo>
                <a:cubicBezTo>
                  <a:pt x="330" y="209"/>
                  <a:pt x="335" y="206"/>
                  <a:pt x="335" y="200"/>
                </a:cubicBezTo>
                <a:cubicBezTo>
                  <a:pt x="335" y="197"/>
                  <a:pt x="333" y="194"/>
                  <a:pt x="331" y="193"/>
                </a:cubicBezTo>
                <a:cubicBezTo>
                  <a:pt x="327" y="190"/>
                  <a:pt x="323" y="189"/>
                  <a:pt x="315" y="189"/>
                </a:cubicBezTo>
                <a:cubicBezTo>
                  <a:pt x="311" y="189"/>
                  <a:pt x="306" y="190"/>
                  <a:pt x="302" y="190"/>
                </a:cubicBezTo>
                <a:cubicBezTo>
                  <a:pt x="302" y="230"/>
                  <a:pt x="302" y="230"/>
                  <a:pt x="302" y="230"/>
                </a:cubicBezTo>
                <a:cubicBezTo>
                  <a:pt x="309" y="230"/>
                  <a:pt x="309" y="230"/>
                  <a:pt x="309" y="230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16" y="213"/>
                  <a:pt x="316" y="213"/>
                  <a:pt x="316" y="213"/>
                </a:cubicBezTo>
                <a:cubicBezTo>
                  <a:pt x="322" y="213"/>
                  <a:pt x="325" y="215"/>
                  <a:pt x="326" y="221"/>
                </a:cubicBezTo>
                <a:cubicBezTo>
                  <a:pt x="328" y="226"/>
                  <a:pt x="329" y="229"/>
                  <a:pt x="330" y="230"/>
                </a:cubicBezTo>
                <a:cubicBezTo>
                  <a:pt x="337" y="230"/>
                  <a:pt x="337" y="230"/>
                  <a:pt x="337" y="230"/>
                </a:cubicBezTo>
                <a:cubicBezTo>
                  <a:pt x="336" y="229"/>
                  <a:pt x="334" y="225"/>
                  <a:pt x="333" y="219"/>
                </a:cubicBezTo>
                <a:cubicBezTo>
                  <a:pt x="331" y="215"/>
                  <a:pt x="329" y="212"/>
                  <a:pt x="325" y="211"/>
                </a:cubicBezTo>
                <a:moveTo>
                  <a:pt x="266" y="227"/>
                </a:moveTo>
                <a:cubicBezTo>
                  <a:pt x="266" y="227"/>
                  <a:pt x="266" y="227"/>
                  <a:pt x="266" y="227"/>
                </a:cubicBezTo>
                <a:cubicBezTo>
                  <a:pt x="256" y="227"/>
                  <a:pt x="250" y="219"/>
                  <a:pt x="250" y="210"/>
                </a:cubicBezTo>
                <a:cubicBezTo>
                  <a:pt x="250" y="201"/>
                  <a:pt x="255" y="193"/>
                  <a:pt x="266" y="193"/>
                </a:cubicBezTo>
                <a:cubicBezTo>
                  <a:pt x="278" y="193"/>
                  <a:pt x="283" y="202"/>
                  <a:pt x="283" y="210"/>
                </a:cubicBezTo>
                <a:cubicBezTo>
                  <a:pt x="283" y="219"/>
                  <a:pt x="277" y="227"/>
                  <a:pt x="266" y="227"/>
                </a:cubicBezTo>
                <a:moveTo>
                  <a:pt x="267" y="189"/>
                </a:moveTo>
                <a:cubicBezTo>
                  <a:pt x="253" y="189"/>
                  <a:pt x="242" y="197"/>
                  <a:pt x="242" y="210"/>
                </a:cubicBezTo>
                <a:cubicBezTo>
                  <a:pt x="242" y="223"/>
                  <a:pt x="252" y="231"/>
                  <a:pt x="266" y="231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79" y="231"/>
                  <a:pt x="290" y="223"/>
                  <a:pt x="290" y="210"/>
                </a:cubicBezTo>
                <a:cubicBezTo>
                  <a:pt x="290" y="197"/>
                  <a:pt x="281" y="189"/>
                  <a:pt x="267" y="189"/>
                </a:cubicBezTo>
                <a:moveTo>
                  <a:pt x="224" y="207"/>
                </a:moveTo>
                <a:cubicBezTo>
                  <a:pt x="224" y="213"/>
                  <a:pt x="224" y="218"/>
                  <a:pt x="224" y="223"/>
                </a:cubicBezTo>
                <a:cubicBezTo>
                  <a:pt x="224" y="223"/>
                  <a:pt x="224" y="223"/>
                  <a:pt x="224" y="223"/>
                </a:cubicBezTo>
                <a:cubicBezTo>
                  <a:pt x="222" y="219"/>
                  <a:pt x="219" y="215"/>
                  <a:pt x="215" y="210"/>
                </a:cubicBezTo>
                <a:cubicBezTo>
                  <a:pt x="198" y="190"/>
                  <a:pt x="198" y="190"/>
                  <a:pt x="198" y="190"/>
                </a:cubicBezTo>
                <a:cubicBezTo>
                  <a:pt x="191" y="190"/>
                  <a:pt x="191" y="190"/>
                  <a:pt x="191" y="190"/>
                </a:cubicBezTo>
                <a:cubicBezTo>
                  <a:pt x="191" y="230"/>
                  <a:pt x="191" y="230"/>
                  <a:pt x="191" y="230"/>
                </a:cubicBezTo>
                <a:cubicBezTo>
                  <a:pt x="197" y="230"/>
                  <a:pt x="197" y="230"/>
                  <a:pt x="197" y="230"/>
                </a:cubicBezTo>
                <a:cubicBezTo>
                  <a:pt x="197" y="213"/>
                  <a:pt x="197" y="213"/>
                  <a:pt x="197" y="213"/>
                </a:cubicBezTo>
                <a:cubicBezTo>
                  <a:pt x="197" y="206"/>
                  <a:pt x="197" y="201"/>
                  <a:pt x="197" y="196"/>
                </a:cubicBezTo>
                <a:cubicBezTo>
                  <a:pt x="197" y="196"/>
                  <a:pt x="197" y="196"/>
                  <a:pt x="197" y="196"/>
                </a:cubicBezTo>
                <a:cubicBezTo>
                  <a:pt x="199" y="201"/>
                  <a:pt x="203" y="205"/>
                  <a:pt x="206" y="210"/>
                </a:cubicBezTo>
                <a:cubicBezTo>
                  <a:pt x="223" y="230"/>
                  <a:pt x="223" y="230"/>
                  <a:pt x="223" y="230"/>
                </a:cubicBezTo>
                <a:cubicBezTo>
                  <a:pt x="230" y="230"/>
                  <a:pt x="230" y="230"/>
                  <a:pt x="230" y="230"/>
                </a:cubicBezTo>
                <a:cubicBezTo>
                  <a:pt x="230" y="190"/>
                  <a:pt x="230" y="190"/>
                  <a:pt x="230" y="190"/>
                </a:cubicBezTo>
                <a:cubicBezTo>
                  <a:pt x="224" y="190"/>
                  <a:pt x="224" y="190"/>
                  <a:pt x="224" y="190"/>
                </a:cubicBezTo>
                <a:lnTo>
                  <a:pt x="224" y="207"/>
                </a:lnTo>
                <a:close/>
                <a:moveTo>
                  <a:pt x="84" y="143"/>
                </a:moveTo>
                <a:cubicBezTo>
                  <a:pt x="57" y="143"/>
                  <a:pt x="57" y="143"/>
                  <a:pt x="57" y="143"/>
                </a:cubicBezTo>
                <a:cubicBezTo>
                  <a:pt x="57" y="143"/>
                  <a:pt x="57" y="143"/>
                  <a:pt x="57" y="143"/>
                </a:cubicBezTo>
                <a:cubicBezTo>
                  <a:pt x="57" y="143"/>
                  <a:pt x="57" y="143"/>
                  <a:pt x="57" y="143"/>
                </a:cubicBezTo>
                <a:cubicBezTo>
                  <a:pt x="49" y="142"/>
                  <a:pt x="44" y="141"/>
                  <a:pt x="39" y="139"/>
                </a:cubicBezTo>
                <a:cubicBezTo>
                  <a:pt x="34" y="137"/>
                  <a:pt x="31" y="134"/>
                  <a:pt x="31" y="129"/>
                </a:cubicBezTo>
                <a:cubicBezTo>
                  <a:pt x="31" y="125"/>
                  <a:pt x="31" y="118"/>
                  <a:pt x="35" y="113"/>
                </a:cubicBezTo>
                <a:cubicBezTo>
                  <a:pt x="40" y="105"/>
                  <a:pt x="56" y="99"/>
                  <a:pt x="56" y="99"/>
                </a:cubicBezTo>
                <a:cubicBezTo>
                  <a:pt x="65" y="95"/>
                  <a:pt x="76" y="91"/>
                  <a:pt x="89" y="88"/>
                </a:cubicBezTo>
                <a:lnTo>
                  <a:pt x="84" y="143"/>
                </a:lnTo>
                <a:close/>
                <a:moveTo>
                  <a:pt x="105" y="45"/>
                </a:moveTo>
                <a:cubicBezTo>
                  <a:pt x="95" y="41"/>
                  <a:pt x="83" y="39"/>
                  <a:pt x="57" y="39"/>
                </a:cubicBezTo>
                <a:cubicBezTo>
                  <a:pt x="34" y="39"/>
                  <a:pt x="34" y="39"/>
                  <a:pt x="34" y="39"/>
                </a:cubicBezTo>
                <a:cubicBezTo>
                  <a:pt x="34" y="44"/>
                  <a:pt x="36" y="50"/>
                  <a:pt x="42" y="53"/>
                </a:cubicBezTo>
                <a:cubicBezTo>
                  <a:pt x="56" y="53"/>
                  <a:pt x="56" y="53"/>
                  <a:pt x="56" y="53"/>
                </a:cubicBezTo>
                <a:cubicBezTo>
                  <a:pt x="72" y="53"/>
                  <a:pt x="80" y="55"/>
                  <a:pt x="82" y="56"/>
                </a:cubicBezTo>
                <a:cubicBezTo>
                  <a:pt x="88" y="59"/>
                  <a:pt x="91" y="63"/>
                  <a:pt x="90" y="69"/>
                </a:cubicBezTo>
                <a:cubicBezTo>
                  <a:pt x="90" y="73"/>
                  <a:pt x="90" y="73"/>
                  <a:pt x="90" y="73"/>
                </a:cubicBezTo>
                <a:cubicBezTo>
                  <a:pt x="58" y="82"/>
                  <a:pt x="29" y="92"/>
                  <a:pt x="15" y="103"/>
                </a:cubicBezTo>
                <a:cubicBezTo>
                  <a:pt x="6" y="108"/>
                  <a:pt x="2" y="116"/>
                  <a:pt x="1" y="125"/>
                </a:cubicBezTo>
                <a:cubicBezTo>
                  <a:pt x="0" y="136"/>
                  <a:pt x="4" y="145"/>
                  <a:pt x="16" y="151"/>
                </a:cubicBezTo>
                <a:cubicBezTo>
                  <a:pt x="28" y="156"/>
                  <a:pt x="42" y="157"/>
                  <a:pt x="62" y="157"/>
                </a:cubicBezTo>
                <a:cubicBezTo>
                  <a:pt x="79" y="157"/>
                  <a:pt x="79" y="157"/>
                  <a:pt x="79" y="157"/>
                </a:cubicBezTo>
                <a:cubicBezTo>
                  <a:pt x="85" y="157"/>
                  <a:pt x="93" y="156"/>
                  <a:pt x="98" y="154"/>
                </a:cubicBezTo>
                <a:cubicBezTo>
                  <a:pt x="112" y="148"/>
                  <a:pt x="115" y="136"/>
                  <a:pt x="116" y="125"/>
                </a:cubicBezTo>
                <a:cubicBezTo>
                  <a:pt x="121" y="65"/>
                  <a:pt x="121" y="65"/>
                  <a:pt x="121" y="65"/>
                </a:cubicBezTo>
                <a:cubicBezTo>
                  <a:pt x="120" y="56"/>
                  <a:pt x="115" y="49"/>
                  <a:pt x="105" y="45"/>
                </a:cubicBezTo>
                <a:moveTo>
                  <a:pt x="176" y="53"/>
                </a:moveTo>
                <a:cubicBezTo>
                  <a:pt x="178" y="31"/>
                  <a:pt x="178" y="31"/>
                  <a:pt x="178" y="31"/>
                </a:cubicBezTo>
                <a:cubicBezTo>
                  <a:pt x="179" y="24"/>
                  <a:pt x="180" y="20"/>
                  <a:pt x="186" y="18"/>
                </a:cubicBezTo>
                <a:cubicBezTo>
                  <a:pt x="192" y="16"/>
                  <a:pt x="201" y="15"/>
                  <a:pt x="212" y="15"/>
                </a:cubicBezTo>
                <a:cubicBezTo>
                  <a:pt x="238" y="15"/>
                  <a:pt x="238" y="15"/>
                  <a:pt x="238" y="15"/>
                </a:cubicBezTo>
                <a:cubicBezTo>
                  <a:pt x="244" y="12"/>
                  <a:pt x="246" y="6"/>
                  <a:pt x="246" y="0"/>
                </a:cubicBezTo>
                <a:cubicBezTo>
                  <a:pt x="212" y="0"/>
                  <a:pt x="212" y="0"/>
                  <a:pt x="212" y="0"/>
                </a:cubicBezTo>
                <a:cubicBezTo>
                  <a:pt x="192" y="0"/>
                  <a:pt x="180" y="2"/>
                  <a:pt x="168" y="7"/>
                </a:cubicBezTo>
                <a:cubicBezTo>
                  <a:pt x="154" y="12"/>
                  <a:pt x="149" y="21"/>
                  <a:pt x="148" y="32"/>
                </a:cubicBezTo>
                <a:cubicBezTo>
                  <a:pt x="146" y="59"/>
                  <a:pt x="146" y="59"/>
                  <a:pt x="146" y="59"/>
                </a:cubicBezTo>
                <a:cubicBezTo>
                  <a:pt x="141" y="60"/>
                  <a:pt x="136" y="61"/>
                  <a:pt x="132" y="62"/>
                </a:cubicBezTo>
                <a:cubicBezTo>
                  <a:pt x="127" y="67"/>
                  <a:pt x="126" y="73"/>
                  <a:pt x="127" y="79"/>
                </a:cubicBezTo>
                <a:cubicBezTo>
                  <a:pt x="127" y="79"/>
                  <a:pt x="127" y="79"/>
                  <a:pt x="127" y="79"/>
                </a:cubicBezTo>
                <a:cubicBezTo>
                  <a:pt x="132" y="77"/>
                  <a:pt x="139" y="76"/>
                  <a:pt x="144" y="75"/>
                </a:cubicBezTo>
                <a:cubicBezTo>
                  <a:pt x="138" y="156"/>
                  <a:pt x="138" y="156"/>
                  <a:pt x="138" y="156"/>
                </a:cubicBezTo>
                <a:cubicBezTo>
                  <a:pt x="168" y="156"/>
                  <a:pt x="168" y="156"/>
                  <a:pt x="168" y="156"/>
                </a:cubicBezTo>
                <a:cubicBezTo>
                  <a:pt x="175" y="68"/>
                  <a:pt x="175" y="68"/>
                  <a:pt x="175" y="68"/>
                </a:cubicBezTo>
                <a:cubicBezTo>
                  <a:pt x="251" y="53"/>
                  <a:pt x="314" y="49"/>
                  <a:pt x="465" y="49"/>
                </a:cubicBezTo>
                <a:cubicBezTo>
                  <a:pt x="469" y="46"/>
                  <a:pt x="470" y="43"/>
                  <a:pt x="471" y="39"/>
                </a:cubicBezTo>
                <a:cubicBezTo>
                  <a:pt x="345" y="39"/>
                  <a:pt x="248" y="40"/>
                  <a:pt x="176" y="53"/>
                </a:cubicBezTo>
                <a:moveTo>
                  <a:pt x="435" y="95"/>
                </a:moveTo>
                <a:cubicBezTo>
                  <a:pt x="433" y="127"/>
                  <a:pt x="433" y="127"/>
                  <a:pt x="433" y="127"/>
                </a:cubicBezTo>
                <a:cubicBezTo>
                  <a:pt x="432" y="133"/>
                  <a:pt x="429" y="137"/>
                  <a:pt x="423" y="139"/>
                </a:cubicBezTo>
                <a:cubicBezTo>
                  <a:pt x="417" y="142"/>
                  <a:pt x="409" y="143"/>
                  <a:pt x="399" y="143"/>
                </a:cubicBezTo>
                <a:cubicBezTo>
                  <a:pt x="390" y="143"/>
                  <a:pt x="382" y="142"/>
                  <a:pt x="377" y="139"/>
                </a:cubicBezTo>
                <a:cubicBezTo>
                  <a:pt x="371" y="137"/>
                  <a:pt x="368" y="133"/>
                  <a:pt x="369" y="127"/>
                </a:cubicBezTo>
                <a:cubicBezTo>
                  <a:pt x="372" y="95"/>
                  <a:pt x="372" y="95"/>
                  <a:pt x="372" y="95"/>
                </a:cubicBezTo>
                <a:cubicBezTo>
                  <a:pt x="372" y="89"/>
                  <a:pt x="376" y="85"/>
                  <a:pt x="382" y="83"/>
                </a:cubicBezTo>
                <a:cubicBezTo>
                  <a:pt x="387" y="81"/>
                  <a:pt x="395" y="79"/>
                  <a:pt x="405" y="79"/>
                </a:cubicBezTo>
                <a:cubicBezTo>
                  <a:pt x="415" y="79"/>
                  <a:pt x="422" y="81"/>
                  <a:pt x="427" y="83"/>
                </a:cubicBezTo>
                <a:cubicBezTo>
                  <a:pt x="433" y="85"/>
                  <a:pt x="436" y="89"/>
                  <a:pt x="435" y="95"/>
                </a:cubicBezTo>
                <a:moveTo>
                  <a:pt x="450" y="71"/>
                </a:moveTo>
                <a:cubicBezTo>
                  <a:pt x="439" y="66"/>
                  <a:pt x="426" y="65"/>
                  <a:pt x="408" y="65"/>
                </a:cubicBezTo>
                <a:cubicBezTo>
                  <a:pt x="404" y="65"/>
                  <a:pt x="404" y="65"/>
                  <a:pt x="404" y="65"/>
                </a:cubicBezTo>
                <a:cubicBezTo>
                  <a:pt x="386" y="65"/>
                  <a:pt x="373" y="66"/>
                  <a:pt x="361" y="71"/>
                </a:cubicBezTo>
                <a:cubicBezTo>
                  <a:pt x="348" y="77"/>
                  <a:pt x="342" y="86"/>
                  <a:pt x="341" y="97"/>
                </a:cubicBezTo>
                <a:cubicBezTo>
                  <a:pt x="339" y="125"/>
                  <a:pt x="339" y="125"/>
                  <a:pt x="339" y="125"/>
                </a:cubicBezTo>
                <a:cubicBezTo>
                  <a:pt x="338" y="136"/>
                  <a:pt x="342" y="145"/>
                  <a:pt x="354" y="151"/>
                </a:cubicBezTo>
                <a:cubicBezTo>
                  <a:pt x="365" y="156"/>
                  <a:pt x="378" y="157"/>
                  <a:pt x="396" y="157"/>
                </a:cubicBezTo>
                <a:cubicBezTo>
                  <a:pt x="400" y="157"/>
                  <a:pt x="400" y="157"/>
                  <a:pt x="400" y="157"/>
                </a:cubicBezTo>
                <a:cubicBezTo>
                  <a:pt x="418" y="157"/>
                  <a:pt x="432" y="156"/>
                  <a:pt x="443" y="151"/>
                </a:cubicBezTo>
                <a:cubicBezTo>
                  <a:pt x="457" y="145"/>
                  <a:pt x="462" y="136"/>
                  <a:pt x="463" y="125"/>
                </a:cubicBezTo>
                <a:cubicBezTo>
                  <a:pt x="465" y="97"/>
                  <a:pt x="465" y="97"/>
                  <a:pt x="465" y="97"/>
                </a:cubicBezTo>
                <a:cubicBezTo>
                  <a:pt x="466" y="86"/>
                  <a:pt x="463" y="77"/>
                  <a:pt x="450" y="71"/>
                </a:cubicBezTo>
                <a:moveTo>
                  <a:pt x="556" y="39"/>
                </a:moveTo>
                <a:cubicBezTo>
                  <a:pt x="536" y="39"/>
                  <a:pt x="522" y="40"/>
                  <a:pt x="509" y="45"/>
                </a:cubicBezTo>
                <a:cubicBezTo>
                  <a:pt x="496" y="50"/>
                  <a:pt x="491" y="60"/>
                  <a:pt x="490" y="70"/>
                </a:cubicBezTo>
                <a:cubicBezTo>
                  <a:pt x="482" y="156"/>
                  <a:pt x="482" y="156"/>
                  <a:pt x="482" y="156"/>
                </a:cubicBezTo>
                <a:cubicBezTo>
                  <a:pt x="512" y="156"/>
                  <a:pt x="512" y="156"/>
                  <a:pt x="512" y="156"/>
                </a:cubicBezTo>
                <a:cubicBezTo>
                  <a:pt x="520" y="69"/>
                  <a:pt x="520" y="69"/>
                  <a:pt x="520" y="69"/>
                </a:cubicBezTo>
                <a:cubicBezTo>
                  <a:pt x="520" y="63"/>
                  <a:pt x="524" y="59"/>
                  <a:pt x="530" y="56"/>
                </a:cubicBezTo>
                <a:cubicBezTo>
                  <a:pt x="536" y="54"/>
                  <a:pt x="545" y="53"/>
                  <a:pt x="557" y="53"/>
                </a:cubicBezTo>
                <a:cubicBezTo>
                  <a:pt x="563" y="53"/>
                  <a:pt x="563" y="53"/>
                  <a:pt x="563" y="53"/>
                </a:cubicBezTo>
                <a:cubicBezTo>
                  <a:pt x="569" y="50"/>
                  <a:pt x="571" y="44"/>
                  <a:pt x="571" y="39"/>
                </a:cubicBezTo>
                <a:cubicBezTo>
                  <a:pt x="556" y="39"/>
                  <a:pt x="556" y="39"/>
                  <a:pt x="556" y="39"/>
                </a:cubicBezTo>
                <a:close/>
                <a:moveTo>
                  <a:pt x="281" y="91"/>
                </a:moveTo>
                <a:cubicBezTo>
                  <a:pt x="287" y="93"/>
                  <a:pt x="289" y="97"/>
                  <a:pt x="289" y="103"/>
                </a:cubicBezTo>
                <a:cubicBezTo>
                  <a:pt x="285" y="156"/>
                  <a:pt x="285" y="156"/>
                  <a:pt x="285" y="156"/>
                </a:cubicBezTo>
                <a:cubicBezTo>
                  <a:pt x="315" y="156"/>
                  <a:pt x="315" y="156"/>
                  <a:pt x="315" y="156"/>
                </a:cubicBezTo>
                <a:cubicBezTo>
                  <a:pt x="319" y="105"/>
                  <a:pt x="319" y="105"/>
                  <a:pt x="319" y="105"/>
                </a:cubicBezTo>
                <a:cubicBezTo>
                  <a:pt x="320" y="94"/>
                  <a:pt x="316" y="85"/>
                  <a:pt x="304" y="79"/>
                </a:cubicBezTo>
                <a:cubicBezTo>
                  <a:pt x="293" y="74"/>
                  <a:pt x="280" y="73"/>
                  <a:pt x="261" y="73"/>
                </a:cubicBezTo>
                <a:cubicBezTo>
                  <a:pt x="258" y="73"/>
                  <a:pt x="258" y="73"/>
                  <a:pt x="258" y="73"/>
                </a:cubicBezTo>
                <a:cubicBezTo>
                  <a:pt x="240" y="73"/>
                  <a:pt x="226" y="74"/>
                  <a:pt x="215" y="79"/>
                </a:cubicBezTo>
                <a:cubicBezTo>
                  <a:pt x="201" y="85"/>
                  <a:pt x="196" y="94"/>
                  <a:pt x="195" y="105"/>
                </a:cubicBezTo>
                <a:cubicBezTo>
                  <a:pt x="191" y="156"/>
                  <a:pt x="191" y="156"/>
                  <a:pt x="191" y="156"/>
                </a:cubicBezTo>
                <a:cubicBezTo>
                  <a:pt x="221" y="156"/>
                  <a:pt x="221" y="156"/>
                  <a:pt x="221" y="156"/>
                </a:cubicBezTo>
                <a:cubicBezTo>
                  <a:pt x="225" y="103"/>
                  <a:pt x="225" y="103"/>
                  <a:pt x="225" y="103"/>
                </a:cubicBezTo>
                <a:cubicBezTo>
                  <a:pt x="226" y="97"/>
                  <a:pt x="229" y="93"/>
                  <a:pt x="235" y="91"/>
                </a:cubicBezTo>
                <a:cubicBezTo>
                  <a:pt x="241" y="89"/>
                  <a:pt x="249" y="87"/>
                  <a:pt x="258" y="87"/>
                </a:cubicBezTo>
                <a:cubicBezTo>
                  <a:pt x="268" y="87"/>
                  <a:pt x="276" y="89"/>
                  <a:pt x="281" y="91"/>
                </a:cubicBezTo>
              </a:path>
            </a:pathLst>
          </a:custGeom>
          <a:solidFill>
            <a:srgbClr val="00000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81465" y="2757850"/>
            <a:ext cx="3609130" cy="865567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90000"/>
              </a:lnSpc>
              <a:defRPr sz="3200" b="1" cap="all"/>
            </a:lvl1pPr>
          </a:lstStyle>
          <a:p>
            <a:r>
              <a:rPr lang="en-US" dirty="0"/>
              <a:t>Click to edit title style</a:t>
            </a:r>
            <a:endParaRPr lang="fr-FR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81465" y="3615480"/>
            <a:ext cx="3609130" cy="865567"/>
          </a:xfrm>
        </p:spPr>
        <p:txBody>
          <a:bodyPr/>
          <a:lstStyle>
            <a:lvl1pPr>
              <a:defRPr sz="3200" cap="all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  <a:endParaRPr lang="fr-FR" dirty="0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41350" y="1802675"/>
            <a:ext cx="7861300" cy="417140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41350" y="6506642"/>
            <a:ext cx="958596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800"/>
            </a:lvl1pPr>
          </a:lstStyle>
          <a:p>
            <a:r>
              <a:rPr lang="fr-FR" noProof="0" dirty="0"/>
              <a:t>2018-04-11</a:t>
            </a: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7694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41350" y="6506642"/>
            <a:ext cx="958596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800"/>
            </a:lvl1pPr>
          </a:lstStyle>
          <a:p>
            <a:r>
              <a:rPr lang="fr-FR" noProof="0" dirty="0"/>
              <a:t>2018-04-11</a:t>
            </a:r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Paragrap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7694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41350" y="6506642"/>
            <a:ext cx="958596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800"/>
            </a:lvl1pPr>
          </a:lstStyle>
          <a:p>
            <a:r>
              <a:rPr lang="fr-FR" noProof="0" dirty="0"/>
              <a:t>2018-04-11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30461" y="1988840"/>
            <a:ext cx="4172189" cy="381642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539552" y="1988840"/>
            <a:ext cx="3507347" cy="38164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0" y="0"/>
            <a:ext cx="9140782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8" name="Freeform 70"/>
          <p:cNvSpPr>
            <a:spLocks/>
          </p:cNvSpPr>
          <p:nvPr userDrawn="1"/>
        </p:nvSpPr>
        <p:spPr bwMode="auto">
          <a:xfrm flipH="1" flipV="1">
            <a:off x="5575531" y="4227267"/>
            <a:ext cx="752357" cy="754115"/>
          </a:xfrm>
          <a:custGeom>
            <a:avLst/>
            <a:gdLst/>
            <a:ahLst/>
            <a:cxnLst>
              <a:cxn ang="0">
                <a:pos x="428" y="0"/>
              </a:cxn>
              <a:cxn ang="0">
                <a:pos x="0" y="0"/>
              </a:cxn>
              <a:cxn ang="0">
                <a:pos x="0" y="429"/>
              </a:cxn>
              <a:cxn ang="0">
                <a:pos x="65" y="363"/>
              </a:cxn>
              <a:cxn ang="0">
                <a:pos x="65" y="66"/>
              </a:cxn>
              <a:cxn ang="0">
                <a:pos x="363" y="66"/>
              </a:cxn>
              <a:cxn ang="0">
                <a:pos x="428" y="0"/>
              </a:cxn>
            </a:cxnLst>
            <a:rect l="0" t="0" r="r" b="b"/>
            <a:pathLst>
              <a:path w="428" h="429">
                <a:moveTo>
                  <a:pt x="428" y="0"/>
                </a:moveTo>
                <a:lnTo>
                  <a:pt x="0" y="0"/>
                </a:lnTo>
                <a:lnTo>
                  <a:pt x="0" y="429"/>
                </a:lnTo>
                <a:lnTo>
                  <a:pt x="65" y="363"/>
                </a:lnTo>
                <a:lnTo>
                  <a:pt x="65" y="66"/>
                </a:lnTo>
                <a:lnTo>
                  <a:pt x="363" y="66"/>
                </a:lnTo>
                <a:lnTo>
                  <a:pt x="428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3717422" y="3298676"/>
            <a:ext cx="2145139" cy="12157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fr-FR" sz="3200" b="1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S !</a:t>
            </a:r>
          </a:p>
          <a:p>
            <a:r>
              <a:rPr lang="fr-FR" sz="9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 rue Francis de Pressensé</a:t>
            </a:r>
          </a:p>
          <a:p>
            <a:r>
              <a:rPr lang="fr-FR" sz="9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93 571 La Plaine Saint-Denis Cedex</a:t>
            </a:r>
          </a:p>
          <a:p>
            <a:r>
              <a:rPr lang="fr-FR" sz="9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él. 01 41 62 80 00</a:t>
            </a:r>
          </a:p>
          <a:p>
            <a:r>
              <a:rPr lang="fr-FR" sz="9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x. 01 49 17 90 00</a:t>
            </a:r>
            <a:endParaRPr lang="fr-FR" sz="1200" noProof="0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23850" y="1341438"/>
            <a:ext cx="8458200" cy="4708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51520" y="116632"/>
            <a:ext cx="7848872" cy="80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et modifiez le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41350" y="6506642"/>
            <a:ext cx="958596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800"/>
            </a:lvl1pPr>
          </a:lstStyle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77768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1350" y="1802675"/>
            <a:ext cx="7861300" cy="41714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fr-FR" dirty="0"/>
          </a:p>
        </p:txBody>
      </p:sp>
      <p:sp>
        <p:nvSpPr>
          <p:cNvPr id="9" name="Line 122"/>
          <p:cNvSpPr>
            <a:spLocks noChangeShapeType="1"/>
          </p:cNvSpPr>
          <p:nvPr userDrawn="1"/>
        </p:nvSpPr>
        <p:spPr bwMode="auto">
          <a:xfrm>
            <a:off x="641350" y="6425680"/>
            <a:ext cx="7861300" cy="1588"/>
          </a:xfrm>
          <a:prstGeom prst="line">
            <a:avLst/>
          </a:prstGeom>
          <a:noFill/>
          <a:ln w="3175" cap="flat">
            <a:solidFill>
              <a:srgbClr val="000003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7694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Freeform 6"/>
          <p:cNvSpPr>
            <a:spLocks/>
          </p:cNvSpPr>
          <p:nvPr userDrawn="1"/>
        </p:nvSpPr>
        <p:spPr bwMode="auto">
          <a:xfrm>
            <a:off x="399056" y="325483"/>
            <a:ext cx="765175" cy="766763"/>
          </a:xfrm>
          <a:custGeom>
            <a:avLst/>
            <a:gdLst/>
            <a:ahLst/>
            <a:cxnLst>
              <a:cxn ang="0">
                <a:pos x="482" y="0"/>
              </a:cxn>
              <a:cxn ang="0">
                <a:pos x="0" y="0"/>
              </a:cxn>
              <a:cxn ang="0">
                <a:pos x="0" y="483"/>
              </a:cxn>
              <a:cxn ang="0">
                <a:pos x="74" y="408"/>
              </a:cxn>
              <a:cxn ang="0">
                <a:pos x="74" y="74"/>
              </a:cxn>
              <a:cxn ang="0">
                <a:pos x="408" y="74"/>
              </a:cxn>
              <a:cxn ang="0">
                <a:pos x="482" y="0"/>
              </a:cxn>
            </a:cxnLst>
            <a:rect l="0" t="0" r="r" b="b"/>
            <a:pathLst>
              <a:path w="482" h="483">
                <a:moveTo>
                  <a:pt x="482" y="0"/>
                </a:moveTo>
                <a:lnTo>
                  <a:pt x="0" y="0"/>
                </a:lnTo>
                <a:lnTo>
                  <a:pt x="0" y="483"/>
                </a:lnTo>
                <a:lnTo>
                  <a:pt x="74" y="408"/>
                </a:lnTo>
                <a:lnTo>
                  <a:pt x="74" y="74"/>
                </a:lnTo>
                <a:lnTo>
                  <a:pt x="408" y="74"/>
                </a:lnTo>
                <a:lnTo>
                  <a:pt x="482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106708" y="6506642"/>
            <a:ext cx="3959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r-FR" sz="800" dirty="0"/>
              <a:t>Page </a:t>
            </a:r>
            <a:fld id="{FB98A01C-4B13-4725-BB5B-F27599E95DBA}" type="slidenum">
              <a:rPr lang="fr-FR" sz="800" smtClean="0"/>
              <a:pPr algn="r"/>
              <a:t>‹Nr.›</a:t>
            </a:fld>
            <a:endParaRPr lang="fr-FR" sz="800" dirty="0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41350" y="6506642"/>
            <a:ext cx="958596" cy="12311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800"/>
            </a:lvl1pPr>
          </a:lstStyle>
          <a:p>
            <a:r>
              <a:rPr lang="fr-FR" noProof="0" dirty="0"/>
              <a:t>2018-04-11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4" r:id="rId4"/>
    <p:sldLayoutId id="2147483657" r:id="rId5"/>
    <p:sldLayoutId id="2147483656" r:id="rId6"/>
    <p:sldLayoutId id="2147483658" r:id="rId7"/>
  </p:sldLayoutIdLst>
  <p:transition>
    <p:fade/>
  </p:transition>
  <p:hf hdr="0" dt="0"/>
  <p:txStyles>
    <p:titleStyle>
      <a:lvl1pPr marL="0" marR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tabLst/>
        <a:defRPr sz="24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just" defTabSz="914400" rtl="0" eaLnBrk="1" fontAlgn="base" latinLnBrk="0" hangingPunct="1">
        <a:spcBef>
          <a:spcPct val="0"/>
        </a:spcBef>
        <a:spcAft>
          <a:spcPts val="300"/>
        </a:spcAft>
        <a:buClr>
          <a:srgbClr val="FCDD2B"/>
        </a:buClr>
        <a:buFont typeface="Arial" pitchFamily="34" charset="0"/>
        <a:buNone/>
        <a:defRPr lang="en-US" sz="1600" b="1" kern="1200" dirty="0" smtClean="0">
          <a:solidFill>
            <a:srgbClr val="000003"/>
          </a:solidFill>
          <a:latin typeface="Arial" pitchFamily="34" charset="0"/>
          <a:ea typeface="+mn-ea"/>
          <a:cs typeface="Arial" pitchFamily="34" charset="0"/>
        </a:defRPr>
      </a:lvl1pPr>
      <a:lvl2pPr marL="358775" indent="-180975" algn="just" defTabSz="914400" rtl="0" eaLnBrk="1" fontAlgn="base" latinLnBrk="0" hangingPunct="1">
        <a:spcBef>
          <a:spcPct val="0"/>
        </a:spcBef>
        <a:spcAft>
          <a:spcPts val="300"/>
        </a:spcAft>
        <a:buClr>
          <a:srgbClr val="FCDD2B"/>
        </a:buClr>
        <a:buSzPct val="80000"/>
        <a:buFontTx/>
        <a:buBlip>
          <a:blip r:embed="rId13"/>
        </a:buBlip>
        <a:defRPr lang="en-US" sz="1600" kern="1200" dirty="0" smtClean="0">
          <a:solidFill>
            <a:srgbClr val="000003"/>
          </a:solidFill>
          <a:latin typeface="Arial" pitchFamily="34" charset="0"/>
          <a:ea typeface="+mn-ea"/>
          <a:cs typeface="Arial" pitchFamily="34" charset="0"/>
        </a:defRPr>
      </a:lvl2pPr>
      <a:lvl3pPr marL="544513" indent="-180975" algn="just" defTabSz="914400" rtl="0" eaLnBrk="1" fontAlgn="base" latinLnBrk="0" hangingPunct="1">
        <a:spcBef>
          <a:spcPct val="0"/>
        </a:spcBef>
        <a:spcAft>
          <a:spcPts val="300"/>
        </a:spcAft>
        <a:buClr>
          <a:schemeClr val="accent1"/>
        </a:buClr>
        <a:buFont typeface="Wingdings 2" pitchFamily="18" charset="2"/>
        <a:buChar char="¡"/>
        <a:defRPr lang="en-US" sz="1600" kern="1200" dirty="0" smtClean="0">
          <a:solidFill>
            <a:srgbClr val="000003"/>
          </a:solidFill>
          <a:latin typeface="Arial" pitchFamily="34" charset="0"/>
          <a:ea typeface="+mn-ea"/>
          <a:cs typeface="Arial" pitchFamily="34" charset="0"/>
        </a:defRPr>
      </a:lvl3pPr>
      <a:lvl4pPr marL="722313" indent="-180975" algn="just" defTabSz="914400" rtl="0" eaLnBrk="1" fontAlgn="base" latinLnBrk="0" hangingPunct="1">
        <a:spcBef>
          <a:spcPct val="0"/>
        </a:spcBef>
        <a:spcAft>
          <a:spcPct val="0"/>
        </a:spcAft>
        <a:buClr>
          <a:srgbClr val="FCDD2B"/>
        </a:buClr>
        <a:buFont typeface="Wingdings" pitchFamily="2" charset="2"/>
        <a:buChar char="§"/>
        <a:defRPr lang="en-US" sz="1600" kern="1200" dirty="0" smtClean="0">
          <a:solidFill>
            <a:srgbClr val="000003"/>
          </a:solidFill>
          <a:latin typeface="Arial" pitchFamily="34" charset="0"/>
          <a:ea typeface="+mn-ea"/>
          <a:cs typeface="Arial" pitchFamily="34" charset="0"/>
        </a:defRPr>
      </a:lvl4pPr>
      <a:lvl5pPr marL="900113" indent="-180975" algn="just" defTabSz="914400" rtl="0" eaLnBrk="1" fontAlgn="base" latinLnBrk="0" hangingPunct="1">
        <a:spcBef>
          <a:spcPct val="0"/>
        </a:spcBef>
        <a:spcAft>
          <a:spcPct val="0"/>
        </a:spcAft>
        <a:buClr>
          <a:srgbClr val="FCDD2B"/>
        </a:buClr>
        <a:buFont typeface="Wingdings" pitchFamily="2" charset="2"/>
        <a:buChar char="§"/>
        <a:defRPr lang="fr-FR" sz="1600" kern="1200" dirty="0">
          <a:solidFill>
            <a:srgbClr val="000003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emf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en.eu/work/products/Pages/default.aspx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boss.cen.eu/developingdeliverables/EN/Pages/default.aspx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boss.cen.eu/developingdeliverables/CWA/Pages/default.aspx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1.png"/><Relationship Id="rId18" Type="http://schemas.microsoft.com/office/2007/relationships/hdphoto" Target="../media/hdphoto8.wdp"/><Relationship Id="rId26" Type="http://schemas.microsoft.com/office/2007/relationships/hdphoto" Target="../media/hdphoto12.wdp"/><Relationship Id="rId3" Type="http://schemas.openxmlformats.org/officeDocument/2006/relationships/image" Target="../media/image6.png"/><Relationship Id="rId21" Type="http://schemas.openxmlformats.org/officeDocument/2006/relationships/image" Target="../media/image15.png"/><Relationship Id="rId7" Type="http://schemas.openxmlformats.org/officeDocument/2006/relationships/image" Target="../media/image8.png"/><Relationship Id="rId12" Type="http://schemas.microsoft.com/office/2007/relationships/hdphoto" Target="../media/hdphoto5.wdp"/><Relationship Id="rId17" Type="http://schemas.openxmlformats.org/officeDocument/2006/relationships/image" Target="../media/image13.png"/><Relationship Id="rId25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6" Type="http://schemas.microsoft.com/office/2007/relationships/hdphoto" Target="../media/hdphoto7.wdp"/><Relationship Id="rId20" Type="http://schemas.microsoft.com/office/2007/relationships/hdphoto" Target="../media/hdphoto9.wdp"/><Relationship Id="rId29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11" Type="http://schemas.openxmlformats.org/officeDocument/2006/relationships/image" Target="../media/image10.png"/><Relationship Id="rId24" Type="http://schemas.microsoft.com/office/2007/relationships/hdphoto" Target="../media/hdphoto11.wdp"/><Relationship Id="rId32" Type="http://schemas.microsoft.com/office/2007/relationships/hdphoto" Target="../media/hdphoto15.wdp"/><Relationship Id="rId5" Type="http://schemas.openxmlformats.org/officeDocument/2006/relationships/image" Target="../media/image7.png"/><Relationship Id="rId15" Type="http://schemas.openxmlformats.org/officeDocument/2006/relationships/image" Target="../media/image12.png"/><Relationship Id="rId23" Type="http://schemas.openxmlformats.org/officeDocument/2006/relationships/image" Target="../media/image16.png"/><Relationship Id="rId28" Type="http://schemas.microsoft.com/office/2007/relationships/hdphoto" Target="../media/hdphoto13.wdp"/><Relationship Id="rId10" Type="http://schemas.microsoft.com/office/2007/relationships/hdphoto" Target="../media/hdphoto4.wdp"/><Relationship Id="rId19" Type="http://schemas.openxmlformats.org/officeDocument/2006/relationships/image" Target="../media/image14.png"/><Relationship Id="rId31" Type="http://schemas.openxmlformats.org/officeDocument/2006/relationships/image" Target="../media/image20.png"/><Relationship Id="rId4" Type="http://schemas.microsoft.com/office/2007/relationships/hdphoto" Target="../media/hdphoto1.wdp"/><Relationship Id="rId9" Type="http://schemas.openxmlformats.org/officeDocument/2006/relationships/image" Target="../media/image9.png"/><Relationship Id="rId14" Type="http://schemas.microsoft.com/office/2007/relationships/hdphoto" Target="../media/hdphoto6.wdp"/><Relationship Id="rId22" Type="http://schemas.microsoft.com/office/2007/relationships/hdphoto" Target="../media/hdphoto10.wdp"/><Relationship Id="rId27" Type="http://schemas.openxmlformats.org/officeDocument/2006/relationships/image" Target="../media/image18.png"/><Relationship Id="rId30" Type="http://schemas.microsoft.com/office/2007/relationships/hdphoto" Target="../media/hdphoto14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Placeholder 33" descr="Picture1.png"/>
          <p:cNvPicPr>
            <a:picLocks noGrp="1" noChangeAspect="1"/>
          </p:cNvPicPr>
          <p:nvPr>
            <p:ph type="pic" sz="quarter" idx="16"/>
          </p:nvPr>
        </p:nvPicPr>
        <p:blipFill>
          <a:blip r:embed="rId7" cstate="email"/>
          <a:srcRect/>
          <a:stretch>
            <a:fillRect/>
          </a:stretch>
        </p:blipFill>
        <p:spPr/>
      </p:pic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1500" dirty="0"/>
              <a:t>THE VOLUNTARY STANDARDIZATION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 bwMode="white">
          <a:xfrm>
            <a:off x="1366151" y="3406213"/>
            <a:ext cx="3383319" cy="775596"/>
          </a:xfrm>
        </p:spPr>
        <p:txBody>
          <a:bodyPr/>
          <a:lstStyle/>
          <a:p>
            <a:pPr lvl="0"/>
            <a:r>
              <a:rPr lang="fr-FR" dirty="0"/>
              <a:t>Standardizatio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white"/>
        <p:txBody>
          <a:bodyPr/>
          <a:lstStyle/>
          <a:p>
            <a:pPr lvl="0"/>
            <a:r>
              <a:rPr lang="fr-FR" dirty="0"/>
              <a:t>A framework</a:t>
            </a:r>
          </a:p>
          <a:p>
            <a:pPr lvl="0"/>
            <a:r>
              <a:rPr lang="fr-FR" b="1" dirty="0"/>
              <a:t>For progress</a:t>
            </a:r>
          </a:p>
          <a:p>
            <a:pPr lvl="0"/>
            <a:r>
              <a:rPr lang="fr-FR" b="1" dirty="0"/>
              <a:t>For al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n-NO" dirty="0"/>
              <a:t>Jean-Loup COMMO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nn-NO" dirty="0"/>
              <a:t>Isabelle GALLINELLI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n-NO" dirty="0"/>
              <a:t>33 (0)1 41 62 86 33</a:t>
            </a:r>
          </a:p>
          <a:p>
            <a:r>
              <a:rPr lang="nn-NO" dirty="0"/>
              <a:t>jeanloup.commo@afnor.org</a:t>
            </a:r>
          </a:p>
          <a:p>
            <a:endParaRPr lang="fr-FR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n-NO" dirty="0"/>
              <a:t>33 (0)1 41 62 84 09</a:t>
            </a:r>
          </a:p>
          <a:p>
            <a:r>
              <a:rPr lang="nn-NO" dirty="0"/>
              <a:t>isabelle.gallinelli@afnor.org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sz="1500" dirty="0"/>
              <a:t>A FRAMEWORK FOR PROGRESS FOR ALL</a:t>
            </a:r>
          </a:p>
        </p:txBody>
      </p:sp>
      <p:sp>
        <p:nvSpPr>
          <p:cNvPr id="35" name="Freeform 54"/>
          <p:cNvSpPr>
            <a:spLocks/>
          </p:cNvSpPr>
          <p:nvPr/>
        </p:nvSpPr>
        <p:spPr bwMode="auto">
          <a:xfrm>
            <a:off x="587298" y="3607874"/>
            <a:ext cx="1365457" cy="1365457"/>
          </a:xfrm>
          <a:custGeom>
            <a:avLst/>
            <a:gdLst/>
            <a:ahLst/>
            <a:cxnLst>
              <a:cxn ang="0">
                <a:pos x="739" y="375"/>
              </a:cxn>
              <a:cxn ang="0">
                <a:pos x="739" y="738"/>
              </a:cxn>
              <a:cxn ang="0">
                <a:pos x="40" y="738"/>
              </a:cxn>
              <a:cxn ang="0">
                <a:pos x="40" y="40"/>
              </a:cxn>
              <a:cxn ang="0">
                <a:pos x="442" y="40"/>
              </a:cxn>
              <a:cxn ang="0">
                <a:pos x="442" y="0"/>
              </a:cxn>
              <a:cxn ang="0">
                <a:pos x="0" y="0"/>
              </a:cxn>
              <a:cxn ang="0">
                <a:pos x="0" y="778"/>
              </a:cxn>
              <a:cxn ang="0">
                <a:pos x="778" y="778"/>
              </a:cxn>
              <a:cxn ang="0">
                <a:pos x="778" y="375"/>
              </a:cxn>
              <a:cxn ang="0">
                <a:pos x="739" y="375"/>
              </a:cxn>
            </a:cxnLst>
            <a:rect l="0" t="0" r="r" b="b"/>
            <a:pathLst>
              <a:path w="778" h="778">
                <a:moveTo>
                  <a:pt x="739" y="375"/>
                </a:moveTo>
                <a:lnTo>
                  <a:pt x="739" y="738"/>
                </a:lnTo>
                <a:lnTo>
                  <a:pt x="40" y="738"/>
                </a:lnTo>
                <a:lnTo>
                  <a:pt x="40" y="40"/>
                </a:lnTo>
                <a:lnTo>
                  <a:pt x="442" y="40"/>
                </a:lnTo>
                <a:lnTo>
                  <a:pt x="442" y="0"/>
                </a:lnTo>
                <a:lnTo>
                  <a:pt x="0" y="0"/>
                </a:lnTo>
                <a:lnTo>
                  <a:pt x="0" y="778"/>
                </a:lnTo>
                <a:lnTo>
                  <a:pt x="778" y="778"/>
                </a:lnTo>
                <a:lnTo>
                  <a:pt x="778" y="375"/>
                </a:lnTo>
                <a:lnTo>
                  <a:pt x="739" y="37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86" y="5708499"/>
            <a:ext cx="1488469" cy="615409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/>
          <p:cNvSpPr txBox="1">
            <a:spLocks/>
          </p:cNvSpPr>
          <p:nvPr/>
        </p:nvSpPr>
        <p:spPr>
          <a:xfrm>
            <a:off x="539100" y="2568074"/>
            <a:ext cx="3527291" cy="3268315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3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fr-FR" sz="2000" dirty="0">
                <a:solidFill>
                  <a:srgbClr val="00B1EB"/>
                </a:solidFill>
              </a:rPr>
              <a:t>WE</a:t>
            </a:r>
            <a:r>
              <a:rPr lang="fr-FR" sz="2000" dirty="0">
                <a:solidFill>
                  <a:srgbClr val="FF48B0"/>
                </a:solidFill>
              </a:rPr>
              <a:t> </a:t>
            </a:r>
            <a:r>
              <a:rPr lang="fr-FR" b="0" dirty="0">
                <a:solidFill>
                  <a:schemeClr val="tx1"/>
                </a:solidFill>
              </a:rPr>
              <a:t>BUILD THE FRAMEWORK</a:t>
            </a:r>
          </a:p>
          <a:p>
            <a:pPr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fr-FR" sz="1400" dirty="0">
              <a:solidFill>
                <a:prstClr val="black"/>
              </a:solidFill>
            </a:endParaRPr>
          </a:p>
          <a:p>
            <a:pPr lvl="1" algn="l">
              <a:spcAft>
                <a:spcPts val="900"/>
              </a:spcAft>
            </a:pPr>
            <a:r>
              <a:rPr lang="en-US" sz="1400" b="1" dirty="0">
                <a:solidFill>
                  <a:srgbClr val="00B1EB"/>
                </a:solidFill>
              </a:rPr>
              <a:t>We</a:t>
            </a:r>
            <a:r>
              <a:rPr lang="en-US" sz="1400" dirty="0"/>
              <a:t> support you in integrating standardization into your strategy</a:t>
            </a:r>
          </a:p>
          <a:p>
            <a:pPr lvl="1" algn="l">
              <a:spcAft>
                <a:spcPts val="900"/>
              </a:spcAft>
            </a:pPr>
            <a:r>
              <a:rPr lang="en-US" sz="1400" b="1" dirty="0">
                <a:solidFill>
                  <a:srgbClr val="00B1EB"/>
                </a:solidFill>
              </a:rPr>
              <a:t>We</a:t>
            </a:r>
            <a:r>
              <a:rPr lang="en-US" sz="1400" dirty="0"/>
              <a:t> animate and coordinate the work (from identification of needs to feedback)</a:t>
            </a:r>
          </a:p>
          <a:p>
            <a:pPr lvl="1" algn="l">
              <a:spcAft>
                <a:spcPts val="900"/>
              </a:spcAft>
            </a:pPr>
            <a:r>
              <a:rPr lang="en-US" sz="1400" b="1" dirty="0">
                <a:solidFill>
                  <a:srgbClr val="00B1EB"/>
                </a:solidFill>
              </a:rPr>
              <a:t>We</a:t>
            </a:r>
            <a:r>
              <a:rPr lang="en-US" sz="1400" dirty="0"/>
              <a:t> put our profession and our normative engineering experience at your service to provide you with strategic and tactical support</a:t>
            </a:r>
            <a:endParaRPr lang="fr-FR" sz="1400" b="0" dirty="0">
              <a:solidFill>
                <a:prstClr val="black"/>
              </a:solidFill>
            </a:endParaRPr>
          </a:p>
        </p:txBody>
      </p:sp>
      <p:sp>
        <p:nvSpPr>
          <p:cNvPr id="12" name="Text Placeholder 15"/>
          <p:cNvSpPr txBox="1">
            <a:spLocks/>
          </p:cNvSpPr>
          <p:nvPr/>
        </p:nvSpPr>
        <p:spPr>
          <a:xfrm>
            <a:off x="4919443" y="2568074"/>
            <a:ext cx="3396218" cy="3173639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3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fr-FR" sz="2000" dirty="0">
                <a:solidFill>
                  <a:srgbClr val="00B1EB"/>
                </a:solidFill>
              </a:rPr>
              <a:t>YOU</a:t>
            </a:r>
            <a:r>
              <a:rPr lang="fr-FR" sz="2000" dirty="0"/>
              <a:t> </a:t>
            </a:r>
            <a:r>
              <a:rPr lang="fr-FR" b="0" dirty="0">
                <a:solidFill>
                  <a:schemeClr val="tx1"/>
                </a:solidFill>
              </a:rPr>
              <a:t>DESIGNE THE STANDARD</a:t>
            </a:r>
          </a:p>
          <a:p>
            <a:pPr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fr-FR" b="0" dirty="0">
              <a:solidFill>
                <a:schemeClr val="tx1"/>
              </a:solidFill>
            </a:endParaRPr>
          </a:p>
          <a:p>
            <a:pPr lvl="1" algn="l">
              <a:spcAft>
                <a:spcPts val="900"/>
              </a:spcAft>
            </a:pPr>
            <a:r>
              <a:rPr lang="en-US" sz="1400" b="1" dirty="0">
                <a:solidFill>
                  <a:srgbClr val="00B1EB"/>
                </a:solidFill>
              </a:rPr>
              <a:t>You</a:t>
            </a:r>
            <a:r>
              <a:rPr lang="en-US" sz="1400" dirty="0"/>
              <a:t> work on the content of standards</a:t>
            </a:r>
          </a:p>
          <a:p>
            <a:pPr lvl="1" algn="l">
              <a:spcAft>
                <a:spcPts val="900"/>
              </a:spcAft>
            </a:pPr>
            <a:r>
              <a:rPr lang="en-US" sz="1400" b="1" dirty="0">
                <a:solidFill>
                  <a:srgbClr val="00B1EB"/>
                </a:solidFill>
              </a:rPr>
              <a:t>You</a:t>
            </a:r>
            <a:r>
              <a:rPr lang="en-US" sz="1400" dirty="0"/>
              <a:t> share your technical skills and your knowledge of the sector issues</a:t>
            </a:r>
          </a:p>
          <a:p>
            <a:pPr lvl="1" algn="l">
              <a:spcAft>
                <a:spcPts val="900"/>
              </a:spcAft>
            </a:pPr>
            <a:r>
              <a:rPr lang="en-US" sz="1400" b="1" dirty="0">
                <a:solidFill>
                  <a:srgbClr val="00B1EB"/>
                </a:solidFill>
              </a:rPr>
              <a:t>You</a:t>
            </a:r>
            <a:r>
              <a:rPr lang="en-US" sz="1400" dirty="0"/>
              <a:t> promote and defend your positions</a:t>
            </a:r>
          </a:p>
          <a:p>
            <a:pPr lvl="1" algn="l">
              <a:spcAft>
                <a:spcPts val="900"/>
              </a:spcAft>
            </a:pPr>
            <a:r>
              <a:rPr lang="fr-FR" sz="1400" b="1" dirty="0">
                <a:solidFill>
                  <a:srgbClr val="00B1EB"/>
                </a:solidFill>
              </a:rPr>
              <a:t>You</a:t>
            </a:r>
            <a:r>
              <a:rPr lang="fr-FR" sz="1400" dirty="0"/>
              <a:t> participate in decision-making</a:t>
            </a: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769441"/>
          </a:xfrm>
        </p:spPr>
        <p:txBody>
          <a:bodyPr>
            <a:normAutofit/>
          </a:bodyPr>
          <a:lstStyle/>
          <a:p>
            <a:r>
              <a:rPr lang="en-US" dirty="0"/>
              <a:t>WE ACCOMPANY YOU</a:t>
            </a:r>
            <a:endParaRPr lang="fr-FR" dirty="0"/>
          </a:p>
        </p:txBody>
      </p:sp>
      <p:pic>
        <p:nvPicPr>
          <p:cNvPr id="25" name="Picture 24" descr="image3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20" y="1917835"/>
            <a:ext cx="469361" cy="475456"/>
          </a:xfrm>
          <a:prstGeom prst="rect">
            <a:avLst/>
          </a:prstGeom>
        </p:spPr>
      </p:pic>
      <p:pic>
        <p:nvPicPr>
          <p:cNvPr id="26" name="Picture 25" descr="image3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8545" y="1917835"/>
            <a:ext cx="469361" cy="475456"/>
          </a:xfrm>
          <a:prstGeom prst="rect">
            <a:avLst/>
          </a:prstGeom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350117094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1006741" y="1443870"/>
            <a:ext cx="6635579" cy="36000"/>
            <a:chOff x="872581" y="1551198"/>
            <a:chExt cx="6635579" cy="36000"/>
          </a:xfrm>
        </p:grpSpPr>
        <p:sp>
          <p:nvSpPr>
            <p:cNvPr id="10" name="Rectangle 9"/>
            <p:cNvSpPr>
              <a:spLocks noChangeAspect="1"/>
            </p:cNvSpPr>
            <p:nvPr/>
          </p:nvSpPr>
          <p:spPr>
            <a:xfrm>
              <a:off x="353906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" name="Rectangle 14"/>
            <p:cNvSpPr>
              <a:spLocks noChangeAspect="1"/>
            </p:cNvSpPr>
            <p:nvPr/>
          </p:nvSpPr>
          <p:spPr>
            <a:xfrm>
              <a:off x="360572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" name="Rectangle 15"/>
            <p:cNvSpPr>
              <a:spLocks noChangeAspect="1"/>
            </p:cNvSpPr>
            <p:nvPr/>
          </p:nvSpPr>
          <p:spPr>
            <a:xfrm>
              <a:off x="367238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" name="Rectangle 16"/>
            <p:cNvSpPr>
              <a:spLocks noChangeAspect="1"/>
            </p:cNvSpPr>
            <p:nvPr/>
          </p:nvSpPr>
          <p:spPr>
            <a:xfrm>
              <a:off x="373904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" name="Rectangle 17"/>
            <p:cNvSpPr>
              <a:spLocks noChangeAspect="1"/>
            </p:cNvSpPr>
            <p:nvPr/>
          </p:nvSpPr>
          <p:spPr>
            <a:xfrm>
              <a:off x="380570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" name="Rectangle 18"/>
            <p:cNvSpPr>
              <a:spLocks noChangeAspect="1"/>
            </p:cNvSpPr>
            <p:nvPr/>
          </p:nvSpPr>
          <p:spPr>
            <a:xfrm>
              <a:off x="387237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" name="Rectangle 19"/>
            <p:cNvSpPr>
              <a:spLocks noChangeAspect="1"/>
            </p:cNvSpPr>
            <p:nvPr/>
          </p:nvSpPr>
          <p:spPr>
            <a:xfrm>
              <a:off x="393903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1" name="Rectangle 20"/>
            <p:cNvSpPr>
              <a:spLocks noChangeAspect="1"/>
            </p:cNvSpPr>
            <p:nvPr/>
          </p:nvSpPr>
          <p:spPr>
            <a:xfrm>
              <a:off x="400569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" name="Rectangle 22"/>
            <p:cNvSpPr>
              <a:spLocks noChangeAspect="1"/>
            </p:cNvSpPr>
            <p:nvPr/>
          </p:nvSpPr>
          <p:spPr>
            <a:xfrm>
              <a:off x="407235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" name="Rectangle 23"/>
            <p:cNvSpPr>
              <a:spLocks noChangeAspect="1"/>
            </p:cNvSpPr>
            <p:nvPr/>
          </p:nvSpPr>
          <p:spPr>
            <a:xfrm>
              <a:off x="413901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" name="Rectangle 24"/>
            <p:cNvSpPr>
              <a:spLocks noChangeAspect="1"/>
            </p:cNvSpPr>
            <p:nvPr/>
          </p:nvSpPr>
          <p:spPr>
            <a:xfrm>
              <a:off x="420568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" name="Rectangle 25"/>
            <p:cNvSpPr>
              <a:spLocks noChangeAspect="1"/>
            </p:cNvSpPr>
            <p:nvPr/>
          </p:nvSpPr>
          <p:spPr>
            <a:xfrm>
              <a:off x="427234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7" name="Rectangle 26"/>
            <p:cNvSpPr>
              <a:spLocks noChangeAspect="1"/>
            </p:cNvSpPr>
            <p:nvPr/>
          </p:nvSpPr>
          <p:spPr>
            <a:xfrm>
              <a:off x="433900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8" name="Rectangle 27"/>
            <p:cNvSpPr>
              <a:spLocks noChangeAspect="1"/>
            </p:cNvSpPr>
            <p:nvPr/>
          </p:nvSpPr>
          <p:spPr>
            <a:xfrm>
              <a:off x="440566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" name="Rectangle 28"/>
            <p:cNvSpPr>
              <a:spLocks noChangeAspect="1"/>
            </p:cNvSpPr>
            <p:nvPr/>
          </p:nvSpPr>
          <p:spPr>
            <a:xfrm>
              <a:off x="447232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0" name="Rectangle 29"/>
            <p:cNvSpPr>
              <a:spLocks noChangeAspect="1"/>
            </p:cNvSpPr>
            <p:nvPr/>
          </p:nvSpPr>
          <p:spPr>
            <a:xfrm>
              <a:off x="453899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1" name="Rectangle 30"/>
            <p:cNvSpPr>
              <a:spLocks noChangeAspect="1"/>
            </p:cNvSpPr>
            <p:nvPr/>
          </p:nvSpPr>
          <p:spPr>
            <a:xfrm>
              <a:off x="460565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2" name="Rectangle 31"/>
            <p:cNvSpPr>
              <a:spLocks noChangeAspect="1"/>
            </p:cNvSpPr>
            <p:nvPr/>
          </p:nvSpPr>
          <p:spPr>
            <a:xfrm>
              <a:off x="467231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3" name="Rectangle 32"/>
            <p:cNvSpPr>
              <a:spLocks noChangeAspect="1"/>
            </p:cNvSpPr>
            <p:nvPr/>
          </p:nvSpPr>
          <p:spPr>
            <a:xfrm>
              <a:off x="473897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4" name="Rectangle 33"/>
            <p:cNvSpPr>
              <a:spLocks noChangeAspect="1"/>
            </p:cNvSpPr>
            <p:nvPr/>
          </p:nvSpPr>
          <p:spPr>
            <a:xfrm>
              <a:off x="480563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5" name="Rectangle 34"/>
            <p:cNvSpPr>
              <a:spLocks noChangeAspect="1"/>
            </p:cNvSpPr>
            <p:nvPr/>
          </p:nvSpPr>
          <p:spPr>
            <a:xfrm>
              <a:off x="487230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6" name="Rectangle 35"/>
            <p:cNvSpPr>
              <a:spLocks noChangeAspect="1"/>
            </p:cNvSpPr>
            <p:nvPr/>
          </p:nvSpPr>
          <p:spPr>
            <a:xfrm>
              <a:off x="493896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7" name="Rectangle 36"/>
            <p:cNvSpPr>
              <a:spLocks noChangeAspect="1"/>
            </p:cNvSpPr>
            <p:nvPr/>
          </p:nvSpPr>
          <p:spPr>
            <a:xfrm>
              <a:off x="500562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8" name="Rectangle 37"/>
            <p:cNvSpPr>
              <a:spLocks noChangeAspect="1"/>
            </p:cNvSpPr>
            <p:nvPr/>
          </p:nvSpPr>
          <p:spPr>
            <a:xfrm>
              <a:off x="507228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9" name="Rectangle 38"/>
            <p:cNvSpPr>
              <a:spLocks noChangeAspect="1"/>
            </p:cNvSpPr>
            <p:nvPr/>
          </p:nvSpPr>
          <p:spPr>
            <a:xfrm>
              <a:off x="513894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0" name="Rectangle 39"/>
            <p:cNvSpPr>
              <a:spLocks noChangeAspect="1"/>
            </p:cNvSpPr>
            <p:nvPr/>
          </p:nvSpPr>
          <p:spPr>
            <a:xfrm>
              <a:off x="520561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1" name="Rectangle 40"/>
            <p:cNvSpPr>
              <a:spLocks noChangeAspect="1"/>
            </p:cNvSpPr>
            <p:nvPr/>
          </p:nvSpPr>
          <p:spPr>
            <a:xfrm>
              <a:off x="527227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" name="Rectangle 41"/>
            <p:cNvSpPr>
              <a:spLocks noChangeAspect="1"/>
            </p:cNvSpPr>
            <p:nvPr/>
          </p:nvSpPr>
          <p:spPr>
            <a:xfrm>
              <a:off x="533893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3" name="Rectangle 42"/>
            <p:cNvSpPr>
              <a:spLocks noChangeAspect="1"/>
            </p:cNvSpPr>
            <p:nvPr/>
          </p:nvSpPr>
          <p:spPr>
            <a:xfrm>
              <a:off x="540559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4" name="Rectangle 43"/>
            <p:cNvSpPr>
              <a:spLocks noChangeAspect="1"/>
            </p:cNvSpPr>
            <p:nvPr/>
          </p:nvSpPr>
          <p:spPr>
            <a:xfrm>
              <a:off x="547225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5" name="Rectangle 44"/>
            <p:cNvSpPr>
              <a:spLocks noChangeAspect="1"/>
            </p:cNvSpPr>
            <p:nvPr/>
          </p:nvSpPr>
          <p:spPr>
            <a:xfrm>
              <a:off x="553892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6" name="Rectangle 45"/>
            <p:cNvSpPr>
              <a:spLocks noChangeAspect="1"/>
            </p:cNvSpPr>
            <p:nvPr/>
          </p:nvSpPr>
          <p:spPr>
            <a:xfrm>
              <a:off x="560558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7" name="Rectangle 46"/>
            <p:cNvSpPr>
              <a:spLocks noChangeAspect="1"/>
            </p:cNvSpPr>
            <p:nvPr/>
          </p:nvSpPr>
          <p:spPr>
            <a:xfrm>
              <a:off x="567224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8" name="Rectangle 47"/>
            <p:cNvSpPr>
              <a:spLocks noChangeAspect="1"/>
            </p:cNvSpPr>
            <p:nvPr/>
          </p:nvSpPr>
          <p:spPr>
            <a:xfrm>
              <a:off x="573890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9" name="Rectangle 48"/>
            <p:cNvSpPr>
              <a:spLocks noChangeAspect="1"/>
            </p:cNvSpPr>
            <p:nvPr/>
          </p:nvSpPr>
          <p:spPr>
            <a:xfrm>
              <a:off x="580556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0" name="Rectangle 49"/>
            <p:cNvSpPr>
              <a:spLocks noChangeAspect="1"/>
            </p:cNvSpPr>
            <p:nvPr/>
          </p:nvSpPr>
          <p:spPr>
            <a:xfrm>
              <a:off x="587223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1" name="Rectangle 50"/>
            <p:cNvSpPr>
              <a:spLocks noChangeAspect="1"/>
            </p:cNvSpPr>
            <p:nvPr/>
          </p:nvSpPr>
          <p:spPr>
            <a:xfrm>
              <a:off x="593889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2" name="Rectangle 51"/>
            <p:cNvSpPr>
              <a:spLocks noChangeAspect="1"/>
            </p:cNvSpPr>
            <p:nvPr/>
          </p:nvSpPr>
          <p:spPr>
            <a:xfrm>
              <a:off x="600555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3" name="Rectangle 52"/>
            <p:cNvSpPr>
              <a:spLocks noChangeAspect="1"/>
            </p:cNvSpPr>
            <p:nvPr/>
          </p:nvSpPr>
          <p:spPr>
            <a:xfrm>
              <a:off x="607221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4" name="Rectangle 53"/>
            <p:cNvSpPr>
              <a:spLocks noChangeAspect="1"/>
            </p:cNvSpPr>
            <p:nvPr/>
          </p:nvSpPr>
          <p:spPr>
            <a:xfrm>
              <a:off x="613887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5" name="Rectangle 54"/>
            <p:cNvSpPr>
              <a:spLocks noChangeAspect="1"/>
            </p:cNvSpPr>
            <p:nvPr/>
          </p:nvSpPr>
          <p:spPr>
            <a:xfrm>
              <a:off x="620554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6" name="Rectangle 55"/>
            <p:cNvSpPr>
              <a:spLocks noChangeAspect="1"/>
            </p:cNvSpPr>
            <p:nvPr/>
          </p:nvSpPr>
          <p:spPr>
            <a:xfrm>
              <a:off x="627220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7" name="Rectangle 56"/>
            <p:cNvSpPr>
              <a:spLocks noChangeAspect="1"/>
            </p:cNvSpPr>
            <p:nvPr/>
          </p:nvSpPr>
          <p:spPr>
            <a:xfrm>
              <a:off x="633886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8" name="Rectangle 57"/>
            <p:cNvSpPr>
              <a:spLocks noChangeAspect="1"/>
            </p:cNvSpPr>
            <p:nvPr/>
          </p:nvSpPr>
          <p:spPr>
            <a:xfrm>
              <a:off x="640552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59" name="Rectangle 58"/>
            <p:cNvSpPr>
              <a:spLocks noChangeAspect="1"/>
            </p:cNvSpPr>
            <p:nvPr/>
          </p:nvSpPr>
          <p:spPr>
            <a:xfrm>
              <a:off x="647218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0" name="Rectangle 59"/>
            <p:cNvSpPr>
              <a:spLocks noChangeAspect="1"/>
            </p:cNvSpPr>
            <p:nvPr/>
          </p:nvSpPr>
          <p:spPr>
            <a:xfrm>
              <a:off x="653885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1" name="Rectangle 60"/>
            <p:cNvSpPr>
              <a:spLocks noChangeAspect="1"/>
            </p:cNvSpPr>
            <p:nvPr/>
          </p:nvSpPr>
          <p:spPr>
            <a:xfrm>
              <a:off x="660551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2" name="Rectangle 61"/>
            <p:cNvSpPr>
              <a:spLocks noChangeAspect="1"/>
            </p:cNvSpPr>
            <p:nvPr/>
          </p:nvSpPr>
          <p:spPr>
            <a:xfrm>
              <a:off x="667217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3" name="Rectangle 62"/>
            <p:cNvSpPr>
              <a:spLocks noChangeAspect="1"/>
            </p:cNvSpPr>
            <p:nvPr/>
          </p:nvSpPr>
          <p:spPr>
            <a:xfrm>
              <a:off x="673883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4" name="Rectangle 63"/>
            <p:cNvSpPr>
              <a:spLocks noChangeAspect="1"/>
            </p:cNvSpPr>
            <p:nvPr/>
          </p:nvSpPr>
          <p:spPr>
            <a:xfrm>
              <a:off x="680549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5" name="Rectangle 64"/>
            <p:cNvSpPr>
              <a:spLocks noChangeAspect="1"/>
            </p:cNvSpPr>
            <p:nvPr/>
          </p:nvSpPr>
          <p:spPr>
            <a:xfrm>
              <a:off x="687216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6" name="Rectangle 65"/>
            <p:cNvSpPr>
              <a:spLocks noChangeAspect="1"/>
            </p:cNvSpPr>
            <p:nvPr/>
          </p:nvSpPr>
          <p:spPr>
            <a:xfrm>
              <a:off x="693882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7" name="Rectangle 66"/>
            <p:cNvSpPr>
              <a:spLocks noChangeAspect="1"/>
            </p:cNvSpPr>
            <p:nvPr/>
          </p:nvSpPr>
          <p:spPr>
            <a:xfrm>
              <a:off x="700548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8" name="Rectangle 67"/>
            <p:cNvSpPr>
              <a:spLocks noChangeAspect="1"/>
            </p:cNvSpPr>
            <p:nvPr/>
          </p:nvSpPr>
          <p:spPr>
            <a:xfrm>
              <a:off x="707214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69" name="Rectangle 68"/>
            <p:cNvSpPr>
              <a:spLocks noChangeAspect="1"/>
            </p:cNvSpPr>
            <p:nvPr/>
          </p:nvSpPr>
          <p:spPr>
            <a:xfrm>
              <a:off x="713880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0" name="Rectangle 69"/>
            <p:cNvSpPr>
              <a:spLocks noChangeAspect="1"/>
            </p:cNvSpPr>
            <p:nvPr/>
          </p:nvSpPr>
          <p:spPr>
            <a:xfrm>
              <a:off x="720547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1" name="Rectangle 70"/>
            <p:cNvSpPr>
              <a:spLocks noChangeAspect="1"/>
            </p:cNvSpPr>
            <p:nvPr/>
          </p:nvSpPr>
          <p:spPr>
            <a:xfrm>
              <a:off x="727213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2" name="Rectangle 71"/>
            <p:cNvSpPr>
              <a:spLocks noChangeAspect="1"/>
            </p:cNvSpPr>
            <p:nvPr/>
          </p:nvSpPr>
          <p:spPr>
            <a:xfrm>
              <a:off x="733879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3" name="Rectangle 72"/>
            <p:cNvSpPr>
              <a:spLocks noChangeAspect="1"/>
            </p:cNvSpPr>
            <p:nvPr/>
          </p:nvSpPr>
          <p:spPr>
            <a:xfrm>
              <a:off x="740545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4" name="Rectangle 73"/>
            <p:cNvSpPr>
              <a:spLocks noChangeAspect="1"/>
            </p:cNvSpPr>
            <p:nvPr/>
          </p:nvSpPr>
          <p:spPr>
            <a:xfrm>
              <a:off x="7472160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5" name="Rectangle 74"/>
            <p:cNvSpPr>
              <a:spLocks noChangeAspect="1"/>
            </p:cNvSpPr>
            <p:nvPr/>
          </p:nvSpPr>
          <p:spPr>
            <a:xfrm>
              <a:off x="180584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6" name="Rectangle 75"/>
            <p:cNvSpPr>
              <a:spLocks noChangeAspect="1"/>
            </p:cNvSpPr>
            <p:nvPr/>
          </p:nvSpPr>
          <p:spPr>
            <a:xfrm>
              <a:off x="187251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7" name="Rectangle 76"/>
            <p:cNvSpPr>
              <a:spLocks noChangeAspect="1"/>
            </p:cNvSpPr>
            <p:nvPr/>
          </p:nvSpPr>
          <p:spPr>
            <a:xfrm>
              <a:off x="193917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8" name="Rectangle 77"/>
            <p:cNvSpPr>
              <a:spLocks noChangeAspect="1"/>
            </p:cNvSpPr>
            <p:nvPr/>
          </p:nvSpPr>
          <p:spPr>
            <a:xfrm>
              <a:off x="200583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79" name="Rectangle 78"/>
            <p:cNvSpPr>
              <a:spLocks noChangeAspect="1"/>
            </p:cNvSpPr>
            <p:nvPr/>
          </p:nvSpPr>
          <p:spPr>
            <a:xfrm>
              <a:off x="207249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0" name="Rectangle 79"/>
            <p:cNvSpPr>
              <a:spLocks noChangeAspect="1"/>
            </p:cNvSpPr>
            <p:nvPr/>
          </p:nvSpPr>
          <p:spPr>
            <a:xfrm>
              <a:off x="213915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1" name="Rectangle 80"/>
            <p:cNvSpPr>
              <a:spLocks noChangeAspect="1"/>
            </p:cNvSpPr>
            <p:nvPr/>
          </p:nvSpPr>
          <p:spPr>
            <a:xfrm>
              <a:off x="220582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2" name="Rectangle 81"/>
            <p:cNvSpPr>
              <a:spLocks noChangeAspect="1"/>
            </p:cNvSpPr>
            <p:nvPr/>
          </p:nvSpPr>
          <p:spPr>
            <a:xfrm>
              <a:off x="227248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3" name="Rectangle 82"/>
            <p:cNvSpPr>
              <a:spLocks noChangeAspect="1"/>
            </p:cNvSpPr>
            <p:nvPr/>
          </p:nvSpPr>
          <p:spPr>
            <a:xfrm>
              <a:off x="233914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4" name="Rectangle 83"/>
            <p:cNvSpPr>
              <a:spLocks noChangeAspect="1"/>
            </p:cNvSpPr>
            <p:nvPr/>
          </p:nvSpPr>
          <p:spPr>
            <a:xfrm>
              <a:off x="240580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5" name="Rectangle 84"/>
            <p:cNvSpPr>
              <a:spLocks noChangeAspect="1"/>
            </p:cNvSpPr>
            <p:nvPr/>
          </p:nvSpPr>
          <p:spPr>
            <a:xfrm>
              <a:off x="247246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6" name="Rectangle 85"/>
            <p:cNvSpPr>
              <a:spLocks noChangeAspect="1"/>
            </p:cNvSpPr>
            <p:nvPr/>
          </p:nvSpPr>
          <p:spPr>
            <a:xfrm>
              <a:off x="253913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7" name="Rectangle 86"/>
            <p:cNvSpPr>
              <a:spLocks noChangeAspect="1"/>
            </p:cNvSpPr>
            <p:nvPr/>
          </p:nvSpPr>
          <p:spPr>
            <a:xfrm>
              <a:off x="260579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8" name="Rectangle 87"/>
            <p:cNvSpPr>
              <a:spLocks noChangeAspect="1"/>
            </p:cNvSpPr>
            <p:nvPr/>
          </p:nvSpPr>
          <p:spPr>
            <a:xfrm>
              <a:off x="267245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89" name="Rectangle 88"/>
            <p:cNvSpPr>
              <a:spLocks noChangeAspect="1"/>
            </p:cNvSpPr>
            <p:nvPr/>
          </p:nvSpPr>
          <p:spPr>
            <a:xfrm>
              <a:off x="273911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0" name="Rectangle 89"/>
            <p:cNvSpPr>
              <a:spLocks noChangeAspect="1"/>
            </p:cNvSpPr>
            <p:nvPr/>
          </p:nvSpPr>
          <p:spPr>
            <a:xfrm>
              <a:off x="280577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1" name="Rectangle 90"/>
            <p:cNvSpPr>
              <a:spLocks noChangeAspect="1"/>
            </p:cNvSpPr>
            <p:nvPr/>
          </p:nvSpPr>
          <p:spPr>
            <a:xfrm>
              <a:off x="287244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2" name="Rectangle 91"/>
            <p:cNvSpPr>
              <a:spLocks noChangeAspect="1"/>
            </p:cNvSpPr>
            <p:nvPr/>
          </p:nvSpPr>
          <p:spPr>
            <a:xfrm>
              <a:off x="293910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3" name="Rectangle 92"/>
            <p:cNvSpPr>
              <a:spLocks noChangeAspect="1"/>
            </p:cNvSpPr>
            <p:nvPr/>
          </p:nvSpPr>
          <p:spPr>
            <a:xfrm>
              <a:off x="300576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4" name="Rectangle 93"/>
            <p:cNvSpPr>
              <a:spLocks noChangeAspect="1"/>
            </p:cNvSpPr>
            <p:nvPr/>
          </p:nvSpPr>
          <p:spPr>
            <a:xfrm>
              <a:off x="307242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5" name="Rectangle 94"/>
            <p:cNvSpPr>
              <a:spLocks noChangeAspect="1"/>
            </p:cNvSpPr>
            <p:nvPr/>
          </p:nvSpPr>
          <p:spPr>
            <a:xfrm>
              <a:off x="313908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6" name="Rectangle 95"/>
            <p:cNvSpPr>
              <a:spLocks noChangeAspect="1"/>
            </p:cNvSpPr>
            <p:nvPr/>
          </p:nvSpPr>
          <p:spPr>
            <a:xfrm>
              <a:off x="320575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7" name="Rectangle 96"/>
            <p:cNvSpPr>
              <a:spLocks noChangeAspect="1"/>
            </p:cNvSpPr>
            <p:nvPr/>
          </p:nvSpPr>
          <p:spPr>
            <a:xfrm>
              <a:off x="327241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8" name="Rectangle 97"/>
            <p:cNvSpPr>
              <a:spLocks noChangeAspect="1"/>
            </p:cNvSpPr>
            <p:nvPr/>
          </p:nvSpPr>
          <p:spPr>
            <a:xfrm>
              <a:off x="333907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99" name="Rectangle 98"/>
            <p:cNvSpPr>
              <a:spLocks noChangeAspect="1"/>
            </p:cNvSpPr>
            <p:nvPr/>
          </p:nvSpPr>
          <p:spPr>
            <a:xfrm>
              <a:off x="340573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0" name="Rectangle 99"/>
            <p:cNvSpPr>
              <a:spLocks noChangeAspect="1"/>
            </p:cNvSpPr>
            <p:nvPr/>
          </p:nvSpPr>
          <p:spPr>
            <a:xfrm>
              <a:off x="347239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1" name="Rectangle 100"/>
            <p:cNvSpPr>
              <a:spLocks noChangeAspect="1"/>
            </p:cNvSpPr>
            <p:nvPr/>
          </p:nvSpPr>
          <p:spPr>
            <a:xfrm>
              <a:off x="87258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2" name="Rectangle 101"/>
            <p:cNvSpPr>
              <a:spLocks noChangeAspect="1"/>
            </p:cNvSpPr>
            <p:nvPr/>
          </p:nvSpPr>
          <p:spPr>
            <a:xfrm>
              <a:off x="93924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3" name="Rectangle 102"/>
            <p:cNvSpPr>
              <a:spLocks noChangeAspect="1"/>
            </p:cNvSpPr>
            <p:nvPr/>
          </p:nvSpPr>
          <p:spPr>
            <a:xfrm>
              <a:off x="100590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4" name="Rectangle 103"/>
            <p:cNvSpPr>
              <a:spLocks noChangeAspect="1"/>
            </p:cNvSpPr>
            <p:nvPr/>
          </p:nvSpPr>
          <p:spPr>
            <a:xfrm>
              <a:off x="107256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5" name="Rectangle 104"/>
            <p:cNvSpPr>
              <a:spLocks noChangeAspect="1"/>
            </p:cNvSpPr>
            <p:nvPr/>
          </p:nvSpPr>
          <p:spPr>
            <a:xfrm>
              <a:off x="113922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6" name="Rectangle 105"/>
            <p:cNvSpPr>
              <a:spLocks noChangeAspect="1"/>
            </p:cNvSpPr>
            <p:nvPr/>
          </p:nvSpPr>
          <p:spPr>
            <a:xfrm>
              <a:off x="120589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7" name="Rectangle 106"/>
            <p:cNvSpPr>
              <a:spLocks noChangeAspect="1"/>
            </p:cNvSpPr>
            <p:nvPr/>
          </p:nvSpPr>
          <p:spPr>
            <a:xfrm>
              <a:off x="127255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8" name="Rectangle 107"/>
            <p:cNvSpPr>
              <a:spLocks noChangeAspect="1"/>
            </p:cNvSpPr>
            <p:nvPr/>
          </p:nvSpPr>
          <p:spPr>
            <a:xfrm>
              <a:off x="133921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09" name="Rectangle 108"/>
            <p:cNvSpPr>
              <a:spLocks noChangeAspect="1"/>
            </p:cNvSpPr>
            <p:nvPr/>
          </p:nvSpPr>
          <p:spPr>
            <a:xfrm>
              <a:off x="140587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10" name="Rectangle 109"/>
            <p:cNvSpPr>
              <a:spLocks noChangeAspect="1"/>
            </p:cNvSpPr>
            <p:nvPr/>
          </p:nvSpPr>
          <p:spPr>
            <a:xfrm>
              <a:off x="1472539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11" name="Rectangle 110"/>
            <p:cNvSpPr>
              <a:spLocks noChangeAspect="1"/>
            </p:cNvSpPr>
            <p:nvPr/>
          </p:nvSpPr>
          <p:spPr>
            <a:xfrm>
              <a:off x="1539201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12" name="Rectangle 111"/>
            <p:cNvSpPr>
              <a:spLocks noChangeAspect="1"/>
            </p:cNvSpPr>
            <p:nvPr/>
          </p:nvSpPr>
          <p:spPr>
            <a:xfrm>
              <a:off x="1605863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13" name="Rectangle 112"/>
            <p:cNvSpPr>
              <a:spLocks noChangeAspect="1"/>
            </p:cNvSpPr>
            <p:nvPr/>
          </p:nvSpPr>
          <p:spPr>
            <a:xfrm>
              <a:off x="1672525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14" name="Rectangle 113"/>
            <p:cNvSpPr>
              <a:spLocks noChangeAspect="1"/>
            </p:cNvSpPr>
            <p:nvPr/>
          </p:nvSpPr>
          <p:spPr>
            <a:xfrm>
              <a:off x="1739187" y="15511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1340051" y="5526686"/>
            <a:ext cx="6302269" cy="36000"/>
            <a:chOff x="1205891" y="5634014"/>
            <a:chExt cx="6302269" cy="36000"/>
          </a:xfrm>
        </p:grpSpPr>
        <p:sp>
          <p:nvSpPr>
            <p:cNvPr id="116" name="Rectangle 115"/>
            <p:cNvSpPr>
              <a:spLocks noChangeAspect="1"/>
            </p:cNvSpPr>
            <p:nvPr/>
          </p:nvSpPr>
          <p:spPr>
            <a:xfrm>
              <a:off x="353906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17" name="Rectangle 116"/>
            <p:cNvSpPr>
              <a:spLocks noChangeAspect="1"/>
            </p:cNvSpPr>
            <p:nvPr/>
          </p:nvSpPr>
          <p:spPr>
            <a:xfrm>
              <a:off x="360572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18" name="Rectangle 117"/>
            <p:cNvSpPr>
              <a:spLocks noChangeAspect="1"/>
            </p:cNvSpPr>
            <p:nvPr/>
          </p:nvSpPr>
          <p:spPr>
            <a:xfrm>
              <a:off x="367238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19" name="Rectangle 118"/>
            <p:cNvSpPr>
              <a:spLocks noChangeAspect="1"/>
            </p:cNvSpPr>
            <p:nvPr/>
          </p:nvSpPr>
          <p:spPr>
            <a:xfrm>
              <a:off x="373904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0" name="Rectangle 119"/>
            <p:cNvSpPr>
              <a:spLocks noChangeAspect="1"/>
            </p:cNvSpPr>
            <p:nvPr/>
          </p:nvSpPr>
          <p:spPr>
            <a:xfrm>
              <a:off x="380570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1" name="Rectangle 120"/>
            <p:cNvSpPr>
              <a:spLocks noChangeAspect="1"/>
            </p:cNvSpPr>
            <p:nvPr/>
          </p:nvSpPr>
          <p:spPr>
            <a:xfrm>
              <a:off x="387237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2" name="Rectangle 121"/>
            <p:cNvSpPr>
              <a:spLocks noChangeAspect="1"/>
            </p:cNvSpPr>
            <p:nvPr/>
          </p:nvSpPr>
          <p:spPr>
            <a:xfrm>
              <a:off x="393903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3" name="Rectangle 122"/>
            <p:cNvSpPr>
              <a:spLocks noChangeAspect="1"/>
            </p:cNvSpPr>
            <p:nvPr/>
          </p:nvSpPr>
          <p:spPr>
            <a:xfrm>
              <a:off x="400569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4" name="Rectangle 123"/>
            <p:cNvSpPr>
              <a:spLocks noChangeAspect="1"/>
            </p:cNvSpPr>
            <p:nvPr/>
          </p:nvSpPr>
          <p:spPr>
            <a:xfrm>
              <a:off x="407235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5" name="Rectangle 124"/>
            <p:cNvSpPr>
              <a:spLocks noChangeAspect="1"/>
            </p:cNvSpPr>
            <p:nvPr/>
          </p:nvSpPr>
          <p:spPr>
            <a:xfrm>
              <a:off x="413901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6" name="Rectangle 125"/>
            <p:cNvSpPr>
              <a:spLocks noChangeAspect="1"/>
            </p:cNvSpPr>
            <p:nvPr/>
          </p:nvSpPr>
          <p:spPr>
            <a:xfrm>
              <a:off x="420568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7" name="Rectangle 126"/>
            <p:cNvSpPr>
              <a:spLocks noChangeAspect="1"/>
            </p:cNvSpPr>
            <p:nvPr/>
          </p:nvSpPr>
          <p:spPr>
            <a:xfrm>
              <a:off x="427234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8" name="Rectangle 127"/>
            <p:cNvSpPr>
              <a:spLocks noChangeAspect="1"/>
            </p:cNvSpPr>
            <p:nvPr/>
          </p:nvSpPr>
          <p:spPr>
            <a:xfrm>
              <a:off x="433900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29" name="Rectangle 128"/>
            <p:cNvSpPr>
              <a:spLocks noChangeAspect="1"/>
            </p:cNvSpPr>
            <p:nvPr/>
          </p:nvSpPr>
          <p:spPr>
            <a:xfrm>
              <a:off x="440566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0" name="Rectangle 129"/>
            <p:cNvSpPr>
              <a:spLocks noChangeAspect="1"/>
            </p:cNvSpPr>
            <p:nvPr/>
          </p:nvSpPr>
          <p:spPr>
            <a:xfrm>
              <a:off x="447232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1" name="Rectangle 130"/>
            <p:cNvSpPr>
              <a:spLocks noChangeAspect="1"/>
            </p:cNvSpPr>
            <p:nvPr/>
          </p:nvSpPr>
          <p:spPr>
            <a:xfrm>
              <a:off x="453899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2" name="Rectangle 131"/>
            <p:cNvSpPr>
              <a:spLocks noChangeAspect="1"/>
            </p:cNvSpPr>
            <p:nvPr/>
          </p:nvSpPr>
          <p:spPr>
            <a:xfrm>
              <a:off x="460565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3" name="Rectangle 132"/>
            <p:cNvSpPr>
              <a:spLocks noChangeAspect="1"/>
            </p:cNvSpPr>
            <p:nvPr/>
          </p:nvSpPr>
          <p:spPr>
            <a:xfrm>
              <a:off x="467231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4" name="Rectangle 133"/>
            <p:cNvSpPr>
              <a:spLocks noChangeAspect="1"/>
            </p:cNvSpPr>
            <p:nvPr/>
          </p:nvSpPr>
          <p:spPr>
            <a:xfrm>
              <a:off x="473897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5" name="Rectangle 134"/>
            <p:cNvSpPr>
              <a:spLocks noChangeAspect="1"/>
            </p:cNvSpPr>
            <p:nvPr/>
          </p:nvSpPr>
          <p:spPr>
            <a:xfrm>
              <a:off x="480563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6" name="Rectangle 135"/>
            <p:cNvSpPr>
              <a:spLocks noChangeAspect="1"/>
            </p:cNvSpPr>
            <p:nvPr/>
          </p:nvSpPr>
          <p:spPr>
            <a:xfrm>
              <a:off x="487230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7" name="Rectangle 136"/>
            <p:cNvSpPr>
              <a:spLocks noChangeAspect="1"/>
            </p:cNvSpPr>
            <p:nvPr/>
          </p:nvSpPr>
          <p:spPr>
            <a:xfrm>
              <a:off x="493896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8" name="Rectangle 137"/>
            <p:cNvSpPr>
              <a:spLocks noChangeAspect="1"/>
            </p:cNvSpPr>
            <p:nvPr/>
          </p:nvSpPr>
          <p:spPr>
            <a:xfrm>
              <a:off x="500562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39" name="Rectangle 138"/>
            <p:cNvSpPr>
              <a:spLocks noChangeAspect="1"/>
            </p:cNvSpPr>
            <p:nvPr/>
          </p:nvSpPr>
          <p:spPr>
            <a:xfrm>
              <a:off x="507228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0" name="Rectangle 139"/>
            <p:cNvSpPr>
              <a:spLocks noChangeAspect="1"/>
            </p:cNvSpPr>
            <p:nvPr/>
          </p:nvSpPr>
          <p:spPr>
            <a:xfrm>
              <a:off x="513894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1" name="Rectangle 140"/>
            <p:cNvSpPr>
              <a:spLocks noChangeAspect="1"/>
            </p:cNvSpPr>
            <p:nvPr/>
          </p:nvSpPr>
          <p:spPr>
            <a:xfrm>
              <a:off x="520561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2" name="Rectangle 141"/>
            <p:cNvSpPr>
              <a:spLocks noChangeAspect="1"/>
            </p:cNvSpPr>
            <p:nvPr/>
          </p:nvSpPr>
          <p:spPr>
            <a:xfrm>
              <a:off x="527227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3" name="Rectangle 142"/>
            <p:cNvSpPr>
              <a:spLocks noChangeAspect="1"/>
            </p:cNvSpPr>
            <p:nvPr/>
          </p:nvSpPr>
          <p:spPr>
            <a:xfrm>
              <a:off x="533893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4" name="Rectangle 143"/>
            <p:cNvSpPr>
              <a:spLocks noChangeAspect="1"/>
            </p:cNvSpPr>
            <p:nvPr/>
          </p:nvSpPr>
          <p:spPr>
            <a:xfrm>
              <a:off x="540559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5" name="Rectangle 144"/>
            <p:cNvSpPr>
              <a:spLocks noChangeAspect="1"/>
            </p:cNvSpPr>
            <p:nvPr/>
          </p:nvSpPr>
          <p:spPr>
            <a:xfrm>
              <a:off x="547225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6" name="Rectangle 145"/>
            <p:cNvSpPr>
              <a:spLocks noChangeAspect="1"/>
            </p:cNvSpPr>
            <p:nvPr/>
          </p:nvSpPr>
          <p:spPr>
            <a:xfrm>
              <a:off x="553892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7" name="Rectangle 146"/>
            <p:cNvSpPr>
              <a:spLocks noChangeAspect="1"/>
            </p:cNvSpPr>
            <p:nvPr/>
          </p:nvSpPr>
          <p:spPr>
            <a:xfrm>
              <a:off x="560558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8" name="Rectangle 147"/>
            <p:cNvSpPr>
              <a:spLocks noChangeAspect="1"/>
            </p:cNvSpPr>
            <p:nvPr/>
          </p:nvSpPr>
          <p:spPr>
            <a:xfrm>
              <a:off x="567224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49" name="Rectangle 148"/>
            <p:cNvSpPr>
              <a:spLocks noChangeAspect="1"/>
            </p:cNvSpPr>
            <p:nvPr/>
          </p:nvSpPr>
          <p:spPr>
            <a:xfrm>
              <a:off x="573890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0" name="Rectangle 149"/>
            <p:cNvSpPr>
              <a:spLocks noChangeAspect="1"/>
            </p:cNvSpPr>
            <p:nvPr/>
          </p:nvSpPr>
          <p:spPr>
            <a:xfrm>
              <a:off x="580556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1" name="Rectangle 150"/>
            <p:cNvSpPr>
              <a:spLocks noChangeAspect="1"/>
            </p:cNvSpPr>
            <p:nvPr/>
          </p:nvSpPr>
          <p:spPr>
            <a:xfrm>
              <a:off x="587223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2" name="Rectangle 151"/>
            <p:cNvSpPr>
              <a:spLocks noChangeAspect="1"/>
            </p:cNvSpPr>
            <p:nvPr/>
          </p:nvSpPr>
          <p:spPr>
            <a:xfrm>
              <a:off x="593889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3" name="Rectangle 152"/>
            <p:cNvSpPr>
              <a:spLocks noChangeAspect="1"/>
            </p:cNvSpPr>
            <p:nvPr/>
          </p:nvSpPr>
          <p:spPr>
            <a:xfrm>
              <a:off x="600555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4" name="Rectangle 153"/>
            <p:cNvSpPr>
              <a:spLocks noChangeAspect="1"/>
            </p:cNvSpPr>
            <p:nvPr/>
          </p:nvSpPr>
          <p:spPr>
            <a:xfrm>
              <a:off x="607221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5" name="Rectangle 154"/>
            <p:cNvSpPr>
              <a:spLocks noChangeAspect="1"/>
            </p:cNvSpPr>
            <p:nvPr/>
          </p:nvSpPr>
          <p:spPr>
            <a:xfrm>
              <a:off x="613887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6" name="Rectangle 155"/>
            <p:cNvSpPr>
              <a:spLocks noChangeAspect="1"/>
            </p:cNvSpPr>
            <p:nvPr/>
          </p:nvSpPr>
          <p:spPr>
            <a:xfrm>
              <a:off x="620554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7" name="Rectangle 156"/>
            <p:cNvSpPr>
              <a:spLocks noChangeAspect="1"/>
            </p:cNvSpPr>
            <p:nvPr/>
          </p:nvSpPr>
          <p:spPr>
            <a:xfrm>
              <a:off x="627220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8" name="Rectangle 157"/>
            <p:cNvSpPr>
              <a:spLocks noChangeAspect="1"/>
            </p:cNvSpPr>
            <p:nvPr/>
          </p:nvSpPr>
          <p:spPr>
            <a:xfrm>
              <a:off x="633886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59" name="Rectangle 158"/>
            <p:cNvSpPr>
              <a:spLocks noChangeAspect="1"/>
            </p:cNvSpPr>
            <p:nvPr/>
          </p:nvSpPr>
          <p:spPr>
            <a:xfrm>
              <a:off x="640552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0" name="Rectangle 159"/>
            <p:cNvSpPr>
              <a:spLocks noChangeAspect="1"/>
            </p:cNvSpPr>
            <p:nvPr/>
          </p:nvSpPr>
          <p:spPr>
            <a:xfrm>
              <a:off x="647218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1" name="Rectangle 160"/>
            <p:cNvSpPr>
              <a:spLocks noChangeAspect="1"/>
            </p:cNvSpPr>
            <p:nvPr/>
          </p:nvSpPr>
          <p:spPr>
            <a:xfrm>
              <a:off x="653885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2" name="Rectangle 161"/>
            <p:cNvSpPr>
              <a:spLocks noChangeAspect="1"/>
            </p:cNvSpPr>
            <p:nvPr/>
          </p:nvSpPr>
          <p:spPr>
            <a:xfrm>
              <a:off x="660551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3" name="Rectangle 162"/>
            <p:cNvSpPr>
              <a:spLocks noChangeAspect="1"/>
            </p:cNvSpPr>
            <p:nvPr/>
          </p:nvSpPr>
          <p:spPr>
            <a:xfrm>
              <a:off x="667217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4" name="Rectangle 163"/>
            <p:cNvSpPr>
              <a:spLocks noChangeAspect="1"/>
            </p:cNvSpPr>
            <p:nvPr/>
          </p:nvSpPr>
          <p:spPr>
            <a:xfrm>
              <a:off x="673883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5" name="Rectangle 164"/>
            <p:cNvSpPr>
              <a:spLocks noChangeAspect="1"/>
            </p:cNvSpPr>
            <p:nvPr/>
          </p:nvSpPr>
          <p:spPr>
            <a:xfrm>
              <a:off x="680549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6" name="Rectangle 165"/>
            <p:cNvSpPr>
              <a:spLocks noChangeAspect="1"/>
            </p:cNvSpPr>
            <p:nvPr/>
          </p:nvSpPr>
          <p:spPr>
            <a:xfrm>
              <a:off x="687216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7" name="Rectangle 166"/>
            <p:cNvSpPr>
              <a:spLocks noChangeAspect="1"/>
            </p:cNvSpPr>
            <p:nvPr/>
          </p:nvSpPr>
          <p:spPr>
            <a:xfrm>
              <a:off x="693882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8" name="Rectangle 167"/>
            <p:cNvSpPr>
              <a:spLocks noChangeAspect="1"/>
            </p:cNvSpPr>
            <p:nvPr/>
          </p:nvSpPr>
          <p:spPr>
            <a:xfrm>
              <a:off x="700548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69" name="Rectangle 168"/>
            <p:cNvSpPr>
              <a:spLocks noChangeAspect="1"/>
            </p:cNvSpPr>
            <p:nvPr/>
          </p:nvSpPr>
          <p:spPr>
            <a:xfrm>
              <a:off x="707214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0" name="Rectangle 169"/>
            <p:cNvSpPr>
              <a:spLocks noChangeAspect="1"/>
            </p:cNvSpPr>
            <p:nvPr/>
          </p:nvSpPr>
          <p:spPr>
            <a:xfrm>
              <a:off x="713880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1" name="Rectangle 170"/>
            <p:cNvSpPr>
              <a:spLocks noChangeAspect="1"/>
            </p:cNvSpPr>
            <p:nvPr/>
          </p:nvSpPr>
          <p:spPr>
            <a:xfrm>
              <a:off x="720547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2" name="Rectangle 171"/>
            <p:cNvSpPr>
              <a:spLocks noChangeAspect="1"/>
            </p:cNvSpPr>
            <p:nvPr/>
          </p:nvSpPr>
          <p:spPr>
            <a:xfrm>
              <a:off x="727213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3" name="Rectangle 172"/>
            <p:cNvSpPr>
              <a:spLocks noChangeAspect="1"/>
            </p:cNvSpPr>
            <p:nvPr/>
          </p:nvSpPr>
          <p:spPr>
            <a:xfrm>
              <a:off x="733879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4" name="Rectangle 173"/>
            <p:cNvSpPr>
              <a:spLocks noChangeAspect="1"/>
            </p:cNvSpPr>
            <p:nvPr/>
          </p:nvSpPr>
          <p:spPr>
            <a:xfrm>
              <a:off x="740545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5" name="Rectangle 174"/>
            <p:cNvSpPr>
              <a:spLocks noChangeAspect="1"/>
            </p:cNvSpPr>
            <p:nvPr/>
          </p:nvSpPr>
          <p:spPr>
            <a:xfrm>
              <a:off x="7472160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6" name="Rectangle 175"/>
            <p:cNvSpPr>
              <a:spLocks noChangeAspect="1"/>
            </p:cNvSpPr>
            <p:nvPr/>
          </p:nvSpPr>
          <p:spPr>
            <a:xfrm>
              <a:off x="180584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7" name="Rectangle 176"/>
            <p:cNvSpPr>
              <a:spLocks noChangeAspect="1"/>
            </p:cNvSpPr>
            <p:nvPr/>
          </p:nvSpPr>
          <p:spPr>
            <a:xfrm>
              <a:off x="187251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8" name="Rectangle 177"/>
            <p:cNvSpPr>
              <a:spLocks noChangeAspect="1"/>
            </p:cNvSpPr>
            <p:nvPr/>
          </p:nvSpPr>
          <p:spPr>
            <a:xfrm>
              <a:off x="193917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79" name="Rectangle 178"/>
            <p:cNvSpPr>
              <a:spLocks noChangeAspect="1"/>
            </p:cNvSpPr>
            <p:nvPr/>
          </p:nvSpPr>
          <p:spPr>
            <a:xfrm>
              <a:off x="200583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0" name="Rectangle 179"/>
            <p:cNvSpPr>
              <a:spLocks noChangeAspect="1"/>
            </p:cNvSpPr>
            <p:nvPr/>
          </p:nvSpPr>
          <p:spPr>
            <a:xfrm>
              <a:off x="207249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1" name="Rectangle 180"/>
            <p:cNvSpPr>
              <a:spLocks noChangeAspect="1"/>
            </p:cNvSpPr>
            <p:nvPr/>
          </p:nvSpPr>
          <p:spPr>
            <a:xfrm>
              <a:off x="213915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2" name="Rectangle 181"/>
            <p:cNvSpPr>
              <a:spLocks noChangeAspect="1"/>
            </p:cNvSpPr>
            <p:nvPr/>
          </p:nvSpPr>
          <p:spPr>
            <a:xfrm>
              <a:off x="220582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3" name="Rectangle 182"/>
            <p:cNvSpPr>
              <a:spLocks noChangeAspect="1"/>
            </p:cNvSpPr>
            <p:nvPr/>
          </p:nvSpPr>
          <p:spPr>
            <a:xfrm>
              <a:off x="227248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4" name="Rectangle 183"/>
            <p:cNvSpPr>
              <a:spLocks noChangeAspect="1"/>
            </p:cNvSpPr>
            <p:nvPr/>
          </p:nvSpPr>
          <p:spPr>
            <a:xfrm>
              <a:off x="233914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5" name="Rectangle 184"/>
            <p:cNvSpPr>
              <a:spLocks noChangeAspect="1"/>
            </p:cNvSpPr>
            <p:nvPr/>
          </p:nvSpPr>
          <p:spPr>
            <a:xfrm>
              <a:off x="240580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6" name="Rectangle 185"/>
            <p:cNvSpPr>
              <a:spLocks noChangeAspect="1"/>
            </p:cNvSpPr>
            <p:nvPr/>
          </p:nvSpPr>
          <p:spPr>
            <a:xfrm>
              <a:off x="247246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7" name="Rectangle 186"/>
            <p:cNvSpPr>
              <a:spLocks noChangeAspect="1"/>
            </p:cNvSpPr>
            <p:nvPr/>
          </p:nvSpPr>
          <p:spPr>
            <a:xfrm>
              <a:off x="253913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8" name="Rectangle 187"/>
            <p:cNvSpPr>
              <a:spLocks noChangeAspect="1"/>
            </p:cNvSpPr>
            <p:nvPr/>
          </p:nvSpPr>
          <p:spPr>
            <a:xfrm>
              <a:off x="260579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89" name="Rectangle 188"/>
            <p:cNvSpPr>
              <a:spLocks noChangeAspect="1"/>
            </p:cNvSpPr>
            <p:nvPr/>
          </p:nvSpPr>
          <p:spPr>
            <a:xfrm>
              <a:off x="267245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0" name="Rectangle 189"/>
            <p:cNvSpPr>
              <a:spLocks noChangeAspect="1"/>
            </p:cNvSpPr>
            <p:nvPr/>
          </p:nvSpPr>
          <p:spPr>
            <a:xfrm>
              <a:off x="273911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1" name="Rectangle 190"/>
            <p:cNvSpPr>
              <a:spLocks noChangeAspect="1"/>
            </p:cNvSpPr>
            <p:nvPr/>
          </p:nvSpPr>
          <p:spPr>
            <a:xfrm>
              <a:off x="280577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2" name="Rectangle 191"/>
            <p:cNvSpPr>
              <a:spLocks noChangeAspect="1"/>
            </p:cNvSpPr>
            <p:nvPr/>
          </p:nvSpPr>
          <p:spPr>
            <a:xfrm>
              <a:off x="287244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3" name="Rectangle 192"/>
            <p:cNvSpPr>
              <a:spLocks noChangeAspect="1"/>
            </p:cNvSpPr>
            <p:nvPr/>
          </p:nvSpPr>
          <p:spPr>
            <a:xfrm>
              <a:off x="293910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4" name="Rectangle 193"/>
            <p:cNvSpPr>
              <a:spLocks noChangeAspect="1"/>
            </p:cNvSpPr>
            <p:nvPr/>
          </p:nvSpPr>
          <p:spPr>
            <a:xfrm>
              <a:off x="300576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5" name="Rectangle 194"/>
            <p:cNvSpPr>
              <a:spLocks noChangeAspect="1"/>
            </p:cNvSpPr>
            <p:nvPr/>
          </p:nvSpPr>
          <p:spPr>
            <a:xfrm>
              <a:off x="307242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6" name="Rectangle 195"/>
            <p:cNvSpPr>
              <a:spLocks noChangeAspect="1"/>
            </p:cNvSpPr>
            <p:nvPr/>
          </p:nvSpPr>
          <p:spPr>
            <a:xfrm>
              <a:off x="313908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7" name="Rectangle 196"/>
            <p:cNvSpPr>
              <a:spLocks noChangeAspect="1"/>
            </p:cNvSpPr>
            <p:nvPr/>
          </p:nvSpPr>
          <p:spPr>
            <a:xfrm>
              <a:off x="320575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8" name="Rectangle 197"/>
            <p:cNvSpPr>
              <a:spLocks noChangeAspect="1"/>
            </p:cNvSpPr>
            <p:nvPr/>
          </p:nvSpPr>
          <p:spPr>
            <a:xfrm>
              <a:off x="327241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199" name="Rectangle 198"/>
            <p:cNvSpPr>
              <a:spLocks noChangeAspect="1"/>
            </p:cNvSpPr>
            <p:nvPr/>
          </p:nvSpPr>
          <p:spPr>
            <a:xfrm>
              <a:off x="333907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0" name="Rectangle 199"/>
            <p:cNvSpPr>
              <a:spLocks noChangeAspect="1"/>
            </p:cNvSpPr>
            <p:nvPr/>
          </p:nvSpPr>
          <p:spPr>
            <a:xfrm>
              <a:off x="340573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1" name="Rectangle 200"/>
            <p:cNvSpPr>
              <a:spLocks noChangeAspect="1"/>
            </p:cNvSpPr>
            <p:nvPr/>
          </p:nvSpPr>
          <p:spPr>
            <a:xfrm>
              <a:off x="347239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2" name="Rectangle 201"/>
            <p:cNvSpPr>
              <a:spLocks noChangeAspect="1"/>
            </p:cNvSpPr>
            <p:nvPr/>
          </p:nvSpPr>
          <p:spPr>
            <a:xfrm>
              <a:off x="120589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3" name="Rectangle 202"/>
            <p:cNvSpPr>
              <a:spLocks noChangeAspect="1"/>
            </p:cNvSpPr>
            <p:nvPr/>
          </p:nvSpPr>
          <p:spPr>
            <a:xfrm>
              <a:off x="127255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4" name="Rectangle 203"/>
            <p:cNvSpPr>
              <a:spLocks noChangeAspect="1"/>
            </p:cNvSpPr>
            <p:nvPr/>
          </p:nvSpPr>
          <p:spPr>
            <a:xfrm>
              <a:off x="133921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5" name="Rectangle 204"/>
            <p:cNvSpPr>
              <a:spLocks noChangeAspect="1"/>
            </p:cNvSpPr>
            <p:nvPr/>
          </p:nvSpPr>
          <p:spPr>
            <a:xfrm>
              <a:off x="140587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6" name="Rectangle 205"/>
            <p:cNvSpPr>
              <a:spLocks noChangeAspect="1"/>
            </p:cNvSpPr>
            <p:nvPr/>
          </p:nvSpPr>
          <p:spPr>
            <a:xfrm>
              <a:off x="1472539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7" name="Rectangle 206"/>
            <p:cNvSpPr>
              <a:spLocks noChangeAspect="1"/>
            </p:cNvSpPr>
            <p:nvPr/>
          </p:nvSpPr>
          <p:spPr>
            <a:xfrm>
              <a:off x="1539201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8" name="Rectangle 207"/>
            <p:cNvSpPr>
              <a:spLocks noChangeAspect="1"/>
            </p:cNvSpPr>
            <p:nvPr/>
          </p:nvSpPr>
          <p:spPr>
            <a:xfrm>
              <a:off x="1605863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09" name="Rectangle 208"/>
            <p:cNvSpPr>
              <a:spLocks noChangeAspect="1"/>
            </p:cNvSpPr>
            <p:nvPr/>
          </p:nvSpPr>
          <p:spPr>
            <a:xfrm>
              <a:off x="1672525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10" name="Rectangle 209"/>
            <p:cNvSpPr>
              <a:spLocks noChangeAspect="1"/>
            </p:cNvSpPr>
            <p:nvPr/>
          </p:nvSpPr>
          <p:spPr>
            <a:xfrm>
              <a:off x="1739187" y="56340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</p:grpSp>
      <p:sp>
        <p:nvSpPr>
          <p:cNvPr id="211" name="Rectangle 210"/>
          <p:cNvSpPr/>
          <p:nvPr/>
        </p:nvSpPr>
        <p:spPr>
          <a:xfrm>
            <a:off x="770041" y="1360855"/>
            <a:ext cx="193256" cy="19325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grpSp>
        <p:nvGrpSpPr>
          <p:cNvPr id="212" name="Group 211"/>
          <p:cNvGrpSpPr/>
          <p:nvPr/>
        </p:nvGrpSpPr>
        <p:grpSpPr>
          <a:xfrm>
            <a:off x="7605851" y="1523838"/>
            <a:ext cx="36000" cy="3969058"/>
            <a:chOff x="-524606" y="1527684"/>
            <a:chExt cx="36000" cy="3969058"/>
          </a:xfrm>
        </p:grpSpPr>
        <p:sp>
          <p:nvSpPr>
            <p:cNvPr id="213" name="Rectangle 212"/>
            <p:cNvSpPr>
              <a:spLocks noChangeAspect="1"/>
            </p:cNvSpPr>
            <p:nvPr/>
          </p:nvSpPr>
          <p:spPr>
            <a:xfrm rot="5400000">
              <a:off x="-524606" y="266093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14" name="Rectangle 213"/>
            <p:cNvSpPr>
              <a:spLocks noChangeAspect="1"/>
            </p:cNvSpPr>
            <p:nvPr/>
          </p:nvSpPr>
          <p:spPr>
            <a:xfrm rot="5400000">
              <a:off x="-524606" y="272760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15" name="Rectangle 214"/>
            <p:cNvSpPr>
              <a:spLocks noChangeAspect="1"/>
            </p:cNvSpPr>
            <p:nvPr/>
          </p:nvSpPr>
          <p:spPr>
            <a:xfrm rot="5400000">
              <a:off x="-524606" y="279426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16" name="Rectangle 215"/>
            <p:cNvSpPr>
              <a:spLocks noChangeAspect="1"/>
            </p:cNvSpPr>
            <p:nvPr/>
          </p:nvSpPr>
          <p:spPr>
            <a:xfrm rot="5400000">
              <a:off x="-524606" y="286092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17" name="Rectangle 216"/>
            <p:cNvSpPr>
              <a:spLocks noChangeAspect="1"/>
            </p:cNvSpPr>
            <p:nvPr/>
          </p:nvSpPr>
          <p:spPr>
            <a:xfrm rot="5400000">
              <a:off x="-524606" y="292758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18" name="Rectangle 217"/>
            <p:cNvSpPr>
              <a:spLocks noChangeAspect="1"/>
            </p:cNvSpPr>
            <p:nvPr/>
          </p:nvSpPr>
          <p:spPr>
            <a:xfrm rot="5400000">
              <a:off x="-524606" y="299424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19" name="Rectangle 218"/>
            <p:cNvSpPr>
              <a:spLocks noChangeAspect="1"/>
            </p:cNvSpPr>
            <p:nvPr/>
          </p:nvSpPr>
          <p:spPr>
            <a:xfrm rot="5400000">
              <a:off x="-524606" y="306091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0" name="Rectangle 219"/>
            <p:cNvSpPr>
              <a:spLocks noChangeAspect="1"/>
            </p:cNvSpPr>
            <p:nvPr/>
          </p:nvSpPr>
          <p:spPr>
            <a:xfrm rot="5400000">
              <a:off x="-524606" y="312757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1" name="Rectangle 220"/>
            <p:cNvSpPr>
              <a:spLocks noChangeAspect="1"/>
            </p:cNvSpPr>
            <p:nvPr/>
          </p:nvSpPr>
          <p:spPr>
            <a:xfrm rot="5400000">
              <a:off x="-524606" y="319423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2" name="Rectangle 221"/>
            <p:cNvSpPr>
              <a:spLocks noChangeAspect="1"/>
            </p:cNvSpPr>
            <p:nvPr/>
          </p:nvSpPr>
          <p:spPr>
            <a:xfrm rot="5400000">
              <a:off x="-524606" y="326089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3" name="Rectangle 222"/>
            <p:cNvSpPr>
              <a:spLocks noChangeAspect="1"/>
            </p:cNvSpPr>
            <p:nvPr/>
          </p:nvSpPr>
          <p:spPr>
            <a:xfrm rot="5400000">
              <a:off x="-524606" y="332755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4" name="Rectangle 223"/>
            <p:cNvSpPr>
              <a:spLocks noChangeAspect="1"/>
            </p:cNvSpPr>
            <p:nvPr/>
          </p:nvSpPr>
          <p:spPr>
            <a:xfrm rot="5400000">
              <a:off x="-524606" y="339422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5" name="Rectangle 224"/>
            <p:cNvSpPr>
              <a:spLocks noChangeAspect="1"/>
            </p:cNvSpPr>
            <p:nvPr/>
          </p:nvSpPr>
          <p:spPr>
            <a:xfrm rot="5400000">
              <a:off x="-524606" y="346088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6" name="Rectangle 225"/>
            <p:cNvSpPr>
              <a:spLocks noChangeAspect="1"/>
            </p:cNvSpPr>
            <p:nvPr/>
          </p:nvSpPr>
          <p:spPr>
            <a:xfrm rot="5400000">
              <a:off x="-524606" y="352754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7" name="Rectangle 226"/>
            <p:cNvSpPr>
              <a:spLocks noChangeAspect="1"/>
            </p:cNvSpPr>
            <p:nvPr/>
          </p:nvSpPr>
          <p:spPr>
            <a:xfrm rot="5400000">
              <a:off x="-524606" y="359420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8" name="Rectangle 227"/>
            <p:cNvSpPr>
              <a:spLocks noChangeAspect="1"/>
            </p:cNvSpPr>
            <p:nvPr/>
          </p:nvSpPr>
          <p:spPr>
            <a:xfrm rot="5400000">
              <a:off x="-524606" y="366086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29" name="Rectangle 228"/>
            <p:cNvSpPr>
              <a:spLocks noChangeAspect="1"/>
            </p:cNvSpPr>
            <p:nvPr/>
          </p:nvSpPr>
          <p:spPr>
            <a:xfrm rot="5400000">
              <a:off x="-524606" y="372753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0" name="Rectangle 229"/>
            <p:cNvSpPr>
              <a:spLocks noChangeAspect="1"/>
            </p:cNvSpPr>
            <p:nvPr/>
          </p:nvSpPr>
          <p:spPr>
            <a:xfrm rot="5400000">
              <a:off x="-524606" y="379419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1" name="Rectangle 230"/>
            <p:cNvSpPr>
              <a:spLocks noChangeAspect="1"/>
            </p:cNvSpPr>
            <p:nvPr/>
          </p:nvSpPr>
          <p:spPr>
            <a:xfrm rot="5400000">
              <a:off x="-524606" y="386085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2" name="Rectangle 231"/>
            <p:cNvSpPr>
              <a:spLocks noChangeAspect="1"/>
            </p:cNvSpPr>
            <p:nvPr/>
          </p:nvSpPr>
          <p:spPr>
            <a:xfrm rot="5400000">
              <a:off x="-524606" y="392751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3" name="Rectangle 232"/>
            <p:cNvSpPr>
              <a:spLocks noChangeAspect="1"/>
            </p:cNvSpPr>
            <p:nvPr/>
          </p:nvSpPr>
          <p:spPr>
            <a:xfrm rot="5400000">
              <a:off x="-524606" y="399417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4" name="Rectangle 233"/>
            <p:cNvSpPr>
              <a:spLocks noChangeAspect="1"/>
            </p:cNvSpPr>
            <p:nvPr/>
          </p:nvSpPr>
          <p:spPr>
            <a:xfrm rot="5400000">
              <a:off x="-524606" y="406084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5" name="Rectangle 234"/>
            <p:cNvSpPr>
              <a:spLocks noChangeAspect="1"/>
            </p:cNvSpPr>
            <p:nvPr/>
          </p:nvSpPr>
          <p:spPr>
            <a:xfrm rot="5400000">
              <a:off x="-524606" y="412750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6" name="Rectangle 235"/>
            <p:cNvSpPr>
              <a:spLocks noChangeAspect="1"/>
            </p:cNvSpPr>
            <p:nvPr/>
          </p:nvSpPr>
          <p:spPr>
            <a:xfrm rot="5400000">
              <a:off x="-524606" y="419416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7" name="Rectangle 236"/>
            <p:cNvSpPr>
              <a:spLocks noChangeAspect="1"/>
            </p:cNvSpPr>
            <p:nvPr/>
          </p:nvSpPr>
          <p:spPr>
            <a:xfrm rot="5400000">
              <a:off x="-524606" y="426082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8" name="Rectangle 237"/>
            <p:cNvSpPr>
              <a:spLocks noChangeAspect="1"/>
            </p:cNvSpPr>
            <p:nvPr/>
          </p:nvSpPr>
          <p:spPr>
            <a:xfrm rot="5400000">
              <a:off x="-524606" y="432748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39" name="Rectangle 238"/>
            <p:cNvSpPr>
              <a:spLocks noChangeAspect="1"/>
            </p:cNvSpPr>
            <p:nvPr/>
          </p:nvSpPr>
          <p:spPr>
            <a:xfrm rot="5400000">
              <a:off x="-524606" y="439415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0" name="Rectangle 239"/>
            <p:cNvSpPr>
              <a:spLocks noChangeAspect="1"/>
            </p:cNvSpPr>
            <p:nvPr/>
          </p:nvSpPr>
          <p:spPr>
            <a:xfrm rot="5400000">
              <a:off x="-524606" y="446081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1" name="Rectangle 240"/>
            <p:cNvSpPr>
              <a:spLocks noChangeAspect="1"/>
            </p:cNvSpPr>
            <p:nvPr/>
          </p:nvSpPr>
          <p:spPr>
            <a:xfrm rot="5400000">
              <a:off x="-524606" y="452747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2" name="Rectangle 241"/>
            <p:cNvSpPr>
              <a:spLocks noChangeAspect="1"/>
            </p:cNvSpPr>
            <p:nvPr/>
          </p:nvSpPr>
          <p:spPr>
            <a:xfrm rot="5400000">
              <a:off x="-524606" y="459413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3" name="Rectangle 242"/>
            <p:cNvSpPr>
              <a:spLocks noChangeAspect="1"/>
            </p:cNvSpPr>
            <p:nvPr/>
          </p:nvSpPr>
          <p:spPr>
            <a:xfrm rot="5400000">
              <a:off x="-524606" y="466079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4" name="Rectangle 243"/>
            <p:cNvSpPr>
              <a:spLocks noChangeAspect="1"/>
            </p:cNvSpPr>
            <p:nvPr/>
          </p:nvSpPr>
          <p:spPr>
            <a:xfrm rot="5400000">
              <a:off x="-524606" y="472746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5" name="Rectangle 244"/>
            <p:cNvSpPr>
              <a:spLocks noChangeAspect="1"/>
            </p:cNvSpPr>
            <p:nvPr/>
          </p:nvSpPr>
          <p:spPr>
            <a:xfrm rot="5400000">
              <a:off x="-524606" y="479412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6" name="Rectangle 245"/>
            <p:cNvSpPr>
              <a:spLocks noChangeAspect="1"/>
            </p:cNvSpPr>
            <p:nvPr/>
          </p:nvSpPr>
          <p:spPr>
            <a:xfrm rot="5400000">
              <a:off x="-524606" y="486078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7" name="Rectangle 246"/>
            <p:cNvSpPr>
              <a:spLocks noChangeAspect="1"/>
            </p:cNvSpPr>
            <p:nvPr/>
          </p:nvSpPr>
          <p:spPr>
            <a:xfrm rot="5400000">
              <a:off x="-524606" y="492744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8" name="Rectangle 247"/>
            <p:cNvSpPr>
              <a:spLocks noChangeAspect="1"/>
            </p:cNvSpPr>
            <p:nvPr/>
          </p:nvSpPr>
          <p:spPr>
            <a:xfrm rot="5400000">
              <a:off x="-524606" y="499410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49" name="Rectangle 248"/>
            <p:cNvSpPr>
              <a:spLocks noChangeAspect="1"/>
            </p:cNvSpPr>
            <p:nvPr/>
          </p:nvSpPr>
          <p:spPr>
            <a:xfrm rot="5400000">
              <a:off x="-524606" y="506077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0" name="Rectangle 249"/>
            <p:cNvSpPr>
              <a:spLocks noChangeAspect="1"/>
            </p:cNvSpPr>
            <p:nvPr/>
          </p:nvSpPr>
          <p:spPr>
            <a:xfrm rot="5400000">
              <a:off x="-524606" y="512743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1" name="Rectangle 250"/>
            <p:cNvSpPr>
              <a:spLocks noChangeAspect="1"/>
            </p:cNvSpPr>
            <p:nvPr/>
          </p:nvSpPr>
          <p:spPr>
            <a:xfrm rot="5400000">
              <a:off x="-524606" y="519409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2" name="Rectangle 251"/>
            <p:cNvSpPr>
              <a:spLocks noChangeAspect="1"/>
            </p:cNvSpPr>
            <p:nvPr/>
          </p:nvSpPr>
          <p:spPr>
            <a:xfrm rot="5400000">
              <a:off x="-524606" y="526075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3" name="Rectangle 252"/>
            <p:cNvSpPr>
              <a:spLocks noChangeAspect="1"/>
            </p:cNvSpPr>
            <p:nvPr/>
          </p:nvSpPr>
          <p:spPr>
            <a:xfrm rot="5400000">
              <a:off x="-524606" y="532741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4" name="Rectangle 253"/>
            <p:cNvSpPr>
              <a:spLocks noChangeAspect="1"/>
            </p:cNvSpPr>
            <p:nvPr/>
          </p:nvSpPr>
          <p:spPr>
            <a:xfrm rot="5400000">
              <a:off x="-524606" y="539408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5" name="Rectangle 254"/>
            <p:cNvSpPr>
              <a:spLocks noChangeAspect="1"/>
            </p:cNvSpPr>
            <p:nvPr/>
          </p:nvSpPr>
          <p:spPr>
            <a:xfrm rot="5400000">
              <a:off x="-524606" y="546074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6" name="Rectangle 255"/>
            <p:cNvSpPr>
              <a:spLocks noChangeAspect="1"/>
            </p:cNvSpPr>
            <p:nvPr/>
          </p:nvSpPr>
          <p:spPr>
            <a:xfrm rot="5400000">
              <a:off x="-524606" y="152768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7" name="Rectangle 256"/>
            <p:cNvSpPr>
              <a:spLocks noChangeAspect="1"/>
            </p:cNvSpPr>
            <p:nvPr/>
          </p:nvSpPr>
          <p:spPr>
            <a:xfrm rot="5400000">
              <a:off x="-524606" y="159434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8" name="Rectangle 257"/>
            <p:cNvSpPr>
              <a:spLocks noChangeAspect="1"/>
            </p:cNvSpPr>
            <p:nvPr/>
          </p:nvSpPr>
          <p:spPr>
            <a:xfrm rot="5400000">
              <a:off x="-524606" y="166100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59" name="Rectangle 258"/>
            <p:cNvSpPr>
              <a:spLocks noChangeAspect="1"/>
            </p:cNvSpPr>
            <p:nvPr/>
          </p:nvSpPr>
          <p:spPr>
            <a:xfrm rot="5400000">
              <a:off x="-524606" y="172767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0" name="Rectangle 259"/>
            <p:cNvSpPr>
              <a:spLocks noChangeAspect="1"/>
            </p:cNvSpPr>
            <p:nvPr/>
          </p:nvSpPr>
          <p:spPr>
            <a:xfrm rot="5400000">
              <a:off x="-524606" y="179433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1" name="Rectangle 260"/>
            <p:cNvSpPr>
              <a:spLocks noChangeAspect="1"/>
            </p:cNvSpPr>
            <p:nvPr/>
          </p:nvSpPr>
          <p:spPr>
            <a:xfrm rot="5400000">
              <a:off x="-524606" y="186099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2" name="Rectangle 261"/>
            <p:cNvSpPr>
              <a:spLocks noChangeAspect="1"/>
            </p:cNvSpPr>
            <p:nvPr/>
          </p:nvSpPr>
          <p:spPr>
            <a:xfrm rot="5400000">
              <a:off x="-524606" y="192765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3" name="Rectangle 262"/>
            <p:cNvSpPr>
              <a:spLocks noChangeAspect="1"/>
            </p:cNvSpPr>
            <p:nvPr/>
          </p:nvSpPr>
          <p:spPr>
            <a:xfrm rot="5400000">
              <a:off x="-524606" y="199431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4" name="Rectangle 263"/>
            <p:cNvSpPr>
              <a:spLocks noChangeAspect="1"/>
            </p:cNvSpPr>
            <p:nvPr/>
          </p:nvSpPr>
          <p:spPr>
            <a:xfrm rot="5400000">
              <a:off x="-524606" y="206098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5" name="Rectangle 264"/>
            <p:cNvSpPr>
              <a:spLocks noChangeAspect="1"/>
            </p:cNvSpPr>
            <p:nvPr/>
          </p:nvSpPr>
          <p:spPr>
            <a:xfrm rot="5400000">
              <a:off x="-524606" y="212764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6" name="Rectangle 265"/>
            <p:cNvSpPr>
              <a:spLocks noChangeAspect="1"/>
            </p:cNvSpPr>
            <p:nvPr/>
          </p:nvSpPr>
          <p:spPr>
            <a:xfrm rot="5400000">
              <a:off x="-524606" y="219430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7" name="Rectangle 266"/>
            <p:cNvSpPr>
              <a:spLocks noChangeAspect="1"/>
            </p:cNvSpPr>
            <p:nvPr/>
          </p:nvSpPr>
          <p:spPr>
            <a:xfrm rot="5400000">
              <a:off x="-524606" y="226096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8" name="Rectangle 267"/>
            <p:cNvSpPr>
              <a:spLocks noChangeAspect="1"/>
            </p:cNvSpPr>
            <p:nvPr/>
          </p:nvSpPr>
          <p:spPr>
            <a:xfrm rot="5400000">
              <a:off x="-524606" y="232762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69" name="Rectangle 268"/>
            <p:cNvSpPr>
              <a:spLocks noChangeAspect="1"/>
            </p:cNvSpPr>
            <p:nvPr/>
          </p:nvSpPr>
          <p:spPr>
            <a:xfrm rot="5400000">
              <a:off x="-524606" y="239429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70" name="Rectangle 269"/>
            <p:cNvSpPr>
              <a:spLocks noChangeAspect="1"/>
            </p:cNvSpPr>
            <p:nvPr/>
          </p:nvSpPr>
          <p:spPr>
            <a:xfrm rot="5400000">
              <a:off x="-524606" y="246095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71" name="Rectangle 270"/>
            <p:cNvSpPr>
              <a:spLocks noChangeAspect="1"/>
            </p:cNvSpPr>
            <p:nvPr/>
          </p:nvSpPr>
          <p:spPr>
            <a:xfrm rot="5400000">
              <a:off x="-524606" y="25276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72" name="Rectangle 271"/>
            <p:cNvSpPr>
              <a:spLocks noChangeAspect="1"/>
            </p:cNvSpPr>
            <p:nvPr/>
          </p:nvSpPr>
          <p:spPr>
            <a:xfrm rot="5400000">
              <a:off x="-524606" y="259427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</p:grpSp>
      <p:sp>
        <p:nvSpPr>
          <p:cNvPr id="307" name="Rectangle 306"/>
          <p:cNvSpPr/>
          <p:nvPr/>
        </p:nvSpPr>
        <p:spPr>
          <a:xfrm>
            <a:off x="1597297" y="5237026"/>
            <a:ext cx="1183065" cy="6128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08" name="Rectangle 307"/>
          <p:cNvSpPr/>
          <p:nvPr/>
        </p:nvSpPr>
        <p:spPr>
          <a:xfrm>
            <a:off x="3789583" y="5237026"/>
            <a:ext cx="1202374" cy="6128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09" name="Rectangle 308"/>
          <p:cNvSpPr/>
          <p:nvPr/>
        </p:nvSpPr>
        <p:spPr>
          <a:xfrm>
            <a:off x="6001186" y="5237026"/>
            <a:ext cx="1260331" cy="6128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10" name="Rectangle 309"/>
          <p:cNvSpPr/>
          <p:nvPr/>
        </p:nvSpPr>
        <p:spPr>
          <a:xfrm>
            <a:off x="1338332" y="1151917"/>
            <a:ext cx="1042284" cy="6128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11" name="Rectangle 310"/>
          <p:cNvSpPr/>
          <p:nvPr/>
        </p:nvSpPr>
        <p:spPr>
          <a:xfrm>
            <a:off x="3684400" y="1151917"/>
            <a:ext cx="1038199" cy="865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12" name="Rectangle 311"/>
          <p:cNvSpPr/>
          <p:nvPr/>
        </p:nvSpPr>
        <p:spPr>
          <a:xfrm>
            <a:off x="5532797" y="1151917"/>
            <a:ext cx="1266202" cy="6128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14" name="Title 1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430095"/>
          </a:xfrm>
        </p:spPr>
        <p:txBody>
          <a:bodyPr/>
          <a:lstStyle/>
          <a:p>
            <a:r>
              <a:rPr lang="fr-FR" dirty="0"/>
              <a:t>STANDARDIZATION </a:t>
            </a:r>
            <a:r>
              <a:rPr lang="fr-FR" b="0" dirty="0"/>
              <a:t>STEP BY STEP</a:t>
            </a:r>
          </a:p>
        </p:txBody>
      </p:sp>
      <p:pic>
        <p:nvPicPr>
          <p:cNvPr id="321" name="Picture 3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7077" y="3133882"/>
            <a:ext cx="632700" cy="585833"/>
          </a:xfrm>
          <a:prstGeom prst="rect">
            <a:avLst/>
          </a:prstGeom>
        </p:spPr>
      </p:pic>
      <p:sp>
        <p:nvSpPr>
          <p:cNvPr id="323" name="Isosceles Triangle 322"/>
          <p:cNvSpPr/>
          <p:nvPr/>
        </p:nvSpPr>
        <p:spPr>
          <a:xfrm rot="5400000">
            <a:off x="3568581" y="1405317"/>
            <a:ext cx="179999" cy="108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24" name="Isosceles Triangle 323"/>
          <p:cNvSpPr/>
          <p:nvPr/>
        </p:nvSpPr>
        <p:spPr>
          <a:xfrm rot="10800000">
            <a:off x="7515851" y="3399819"/>
            <a:ext cx="179999" cy="108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25" name="Isosceles Triangle 324"/>
          <p:cNvSpPr/>
          <p:nvPr/>
        </p:nvSpPr>
        <p:spPr>
          <a:xfrm rot="16200000">
            <a:off x="7166768" y="5490792"/>
            <a:ext cx="179999" cy="108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26" name="Isosceles Triangle 325"/>
          <p:cNvSpPr/>
          <p:nvPr/>
        </p:nvSpPr>
        <p:spPr>
          <a:xfrm>
            <a:off x="1269160" y="4109933"/>
            <a:ext cx="179999" cy="108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27" name="Isosceles Triangle 326"/>
          <p:cNvSpPr/>
          <p:nvPr/>
        </p:nvSpPr>
        <p:spPr>
          <a:xfrm rot="5400000">
            <a:off x="5434305" y="1405318"/>
            <a:ext cx="179999" cy="108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28" name="Isosceles Triangle 327"/>
          <p:cNvSpPr/>
          <p:nvPr/>
        </p:nvSpPr>
        <p:spPr>
          <a:xfrm rot="16200000">
            <a:off x="4901504" y="5490792"/>
            <a:ext cx="179999" cy="108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29" name="Isosceles Triangle 328"/>
          <p:cNvSpPr/>
          <p:nvPr/>
        </p:nvSpPr>
        <p:spPr>
          <a:xfrm rot="16200000">
            <a:off x="2696885" y="5490792"/>
            <a:ext cx="179999" cy="108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398" name="ZoneTexte 2"/>
          <p:cNvSpPr txBox="1"/>
          <p:nvPr/>
        </p:nvSpPr>
        <p:spPr>
          <a:xfrm>
            <a:off x="1197898" y="1847090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/>
              <a:t>Proposition</a:t>
            </a:r>
          </a:p>
        </p:txBody>
      </p:sp>
      <p:sp>
        <p:nvSpPr>
          <p:cNvPr id="399" name="ZoneTexte 397"/>
          <p:cNvSpPr txBox="1"/>
          <p:nvPr/>
        </p:nvSpPr>
        <p:spPr>
          <a:xfrm>
            <a:off x="3885705" y="1926031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/>
              <a:t>Study</a:t>
            </a:r>
          </a:p>
        </p:txBody>
      </p:sp>
      <p:sp>
        <p:nvSpPr>
          <p:cNvPr id="400" name="ZoneTexte 398"/>
          <p:cNvSpPr txBox="1"/>
          <p:nvPr/>
        </p:nvSpPr>
        <p:spPr>
          <a:xfrm>
            <a:off x="5535718" y="1854860"/>
            <a:ext cx="15055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/>
              <a:t>Collective </a:t>
            </a:r>
          </a:p>
          <a:p>
            <a:pPr algn="ctr"/>
            <a:r>
              <a:rPr lang="fr-FR" dirty="0"/>
              <a:t>development</a:t>
            </a:r>
          </a:p>
        </p:txBody>
      </p:sp>
      <p:sp>
        <p:nvSpPr>
          <p:cNvPr id="402" name="ZoneTexte 400"/>
          <p:cNvSpPr txBox="1"/>
          <p:nvPr/>
        </p:nvSpPr>
        <p:spPr>
          <a:xfrm>
            <a:off x="6118942" y="5690444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/>
              <a:t>Enquiry</a:t>
            </a:r>
          </a:p>
        </p:txBody>
      </p:sp>
      <p:sp>
        <p:nvSpPr>
          <p:cNvPr id="403" name="ZoneTexte 401"/>
          <p:cNvSpPr txBox="1"/>
          <p:nvPr/>
        </p:nvSpPr>
        <p:spPr>
          <a:xfrm>
            <a:off x="3638818" y="5704023"/>
            <a:ext cx="15055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/>
              <a:t>Study </a:t>
            </a:r>
          </a:p>
          <a:p>
            <a:pPr algn="ctr"/>
            <a:r>
              <a:rPr lang="fr-FR" dirty="0"/>
              <a:t>of comments</a:t>
            </a:r>
          </a:p>
        </p:txBody>
      </p:sp>
      <p:sp>
        <p:nvSpPr>
          <p:cNvPr id="404" name="ZoneTexte 402"/>
          <p:cNvSpPr txBox="1"/>
          <p:nvPr/>
        </p:nvSpPr>
        <p:spPr>
          <a:xfrm>
            <a:off x="1321883" y="5714753"/>
            <a:ext cx="16936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/>
              <a:t>Validation and </a:t>
            </a:r>
          </a:p>
          <a:p>
            <a:pPr algn="ctr"/>
            <a:r>
              <a:rPr lang="fr-FR" dirty="0"/>
              <a:t>publication</a:t>
            </a:r>
          </a:p>
        </p:txBody>
      </p:sp>
      <p:sp>
        <p:nvSpPr>
          <p:cNvPr id="405" name="ZoneTexte 403"/>
          <p:cNvSpPr txBox="1"/>
          <p:nvPr/>
        </p:nvSpPr>
        <p:spPr>
          <a:xfrm>
            <a:off x="824786" y="3745187"/>
            <a:ext cx="1069524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dirty="0"/>
              <a:t>Revision</a:t>
            </a:r>
          </a:p>
        </p:txBody>
      </p:sp>
      <p:grpSp>
        <p:nvGrpSpPr>
          <p:cNvPr id="273" name="Group 272"/>
          <p:cNvGrpSpPr/>
          <p:nvPr/>
        </p:nvGrpSpPr>
        <p:grpSpPr>
          <a:xfrm>
            <a:off x="1340586" y="4190318"/>
            <a:ext cx="36000" cy="1335830"/>
            <a:chOff x="1206358" y="4097660"/>
            <a:chExt cx="36000" cy="1502564"/>
          </a:xfrm>
        </p:grpSpPr>
        <p:sp>
          <p:nvSpPr>
            <p:cNvPr id="284" name="Rectangle 283"/>
            <p:cNvSpPr>
              <a:spLocks noChangeAspect="1"/>
            </p:cNvSpPr>
            <p:nvPr/>
          </p:nvSpPr>
          <p:spPr>
            <a:xfrm rot="5400000">
              <a:off x="1206358" y="409766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85" name="Rectangle 284"/>
            <p:cNvSpPr>
              <a:spLocks noChangeAspect="1"/>
            </p:cNvSpPr>
            <p:nvPr/>
          </p:nvSpPr>
          <p:spPr>
            <a:xfrm rot="5400000">
              <a:off x="1206358" y="416432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86" name="Rectangle 285"/>
            <p:cNvSpPr>
              <a:spLocks noChangeAspect="1"/>
            </p:cNvSpPr>
            <p:nvPr/>
          </p:nvSpPr>
          <p:spPr>
            <a:xfrm rot="5400000">
              <a:off x="1206358" y="423098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87" name="Rectangle 286"/>
            <p:cNvSpPr>
              <a:spLocks noChangeAspect="1"/>
            </p:cNvSpPr>
            <p:nvPr/>
          </p:nvSpPr>
          <p:spPr>
            <a:xfrm rot="5400000">
              <a:off x="1206358" y="429764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88" name="Rectangle 287"/>
            <p:cNvSpPr>
              <a:spLocks noChangeAspect="1"/>
            </p:cNvSpPr>
            <p:nvPr/>
          </p:nvSpPr>
          <p:spPr>
            <a:xfrm rot="5400000">
              <a:off x="1206358" y="436430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89" name="Rectangle 288"/>
            <p:cNvSpPr>
              <a:spLocks noChangeAspect="1"/>
            </p:cNvSpPr>
            <p:nvPr/>
          </p:nvSpPr>
          <p:spPr>
            <a:xfrm rot="5400000">
              <a:off x="1206358" y="443097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0" name="Rectangle 289"/>
            <p:cNvSpPr>
              <a:spLocks noChangeAspect="1"/>
            </p:cNvSpPr>
            <p:nvPr/>
          </p:nvSpPr>
          <p:spPr>
            <a:xfrm rot="5400000">
              <a:off x="1206358" y="449763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1" name="Rectangle 290"/>
            <p:cNvSpPr>
              <a:spLocks noChangeAspect="1"/>
            </p:cNvSpPr>
            <p:nvPr/>
          </p:nvSpPr>
          <p:spPr>
            <a:xfrm rot="5400000">
              <a:off x="1206358" y="456429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2" name="Rectangle 291"/>
            <p:cNvSpPr>
              <a:spLocks noChangeAspect="1"/>
            </p:cNvSpPr>
            <p:nvPr/>
          </p:nvSpPr>
          <p:spPr>
            <a:xfrm rot="5400000">
              <a:off x="1206358" y="463095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3" name="Rectangle 292"/>
            <p:cNvSpPr>
              <a:spLocks noChangeAspect="1"/>
            </p:cNvSpPr>
            <p:nvPr/>
          </p:nvSpPr>
          <p:spPr>
            <a:xfrm rot="5400000">
              <a:off x="1206358" y="469761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4" name="Rectangle 293"/>
            <p:cNvSpPr>
              <a:spLocks noChangeAspect="1"/>
            </p:cNvSpPr>
            <p:nvPr/>
          </p:nvSpPr>
          <p:spPr>
            <a:xfrm rot="5400000">
              <a:off x="1206358" y="476428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5" name="Rectangle 294"/>
            <p:cNvSpPr>
              <a:spLocks noChangeAspect="1"/>
            </p:cNvSpPr>
            <p:nvPr/>
          </p:nvSpPr>
          <p:spPr>
            <a:xfrm rot="5400000">
              <a:off x="1206358" y="483094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6" name="Rectangle 295"/>
            <p:cNvSpPr>
              <a:spLocks noChangeAspect="1"/>
            </p:cNvSpPr>
            <p:nvPr/>
          </p:nvSpPr>
          <p:spPr>
            <a:xfrm rot="5400000">
              <a:off x="1206358" y="489760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7" name="Rectangle 296"/>
            <p:cNvSpPr>
              <a:spLocks noChangeAspect="1"/>
            </p:cNvSpPr>
            <p:nvPr/>
          </p:nvSpPr>
          <p:spPr>
            <a:xfrm rot="5400000">
              <a:off x="1206358" y="496426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8" name="Rectangle 297"/>
            <p:cNvSpPr>
              <a:spLocks noChangeAspect="1"/>
            </p:cNvSpPr>
            <p:nvPr/>
          </p:nvSpPr>
          <p:spPr>
            <a:xfrm rot="5400000">
              <a:off x="1206358" y="503092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299" name="Rectangle 298"/>
            <p:cNvSpPr>
              <a:spLocks noChangeAspect="1"/>
            </p:cNvSpPr>
            <p:nvPr/>
          </p:nvSpPr>
          <p:spPr>
            <a:xfrm rot="5400000">
              <a:off x="1206358" y="509759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00" name="Rectangle 299"/>
            <p:cNvSpPr>
              <a:spLocks noChangeAspect="1"/>
            </p:cNvSpPr>
            <p:nvPr/>
          </p:nvSpPr>
          <p:spPr>
            <a:xfrm rot="5400000">
              <a:off x="1206358" y="516425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01" name="Rectangle 300"/>
            <p:cNvSpPr>
              <a:spLocks noChangeAspect="1"/>
            </p:cNvSpPr>
            <p:nvPr/>
          </p:nvSpPr>
          <p:spPr>
            <a:xfrm rot="5400000">
              <a:off x="1206358" y="52309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02" name="Rectangle 301"/>
            <p:cNvSpPr>
              <a:spLocks noChangeAspect="1"/>
            </p:cNvSpPr>
            <p:nvPr/>
          </p:nvSpPr>
          <p:spPr>
            <a:xfrm rot="5400000">
              <a:off x="1206358" y="529757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03" name="Rectangle 302"/>
            <p:cNvSpPr>
              <a:spLocks noChangeAspect="1"/>
            </p:cNvSpPr>
            <p:nvPr/>
          </p:nvSpPr>
          <p:spPr>
            <a:xfrm rot="5400000">
              <a:off x="1206358" y="536423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04" name="Rectangle 303"/>
            <p:cNvSpPr>
              <a:spLocks noChangeAspect="1"/>
            </p:cNvSpPr>
            <p:nvPr/>
          </p:nvSpPr>
          <p:spPr>
            <a:xfrm rot="5400000">
              <a:off x="1206358" y="543090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05" name="Rectangle 304"/>
            <p:cNvSpPr>
              <a:spLocks noChangeAspect="1"/>
            </p:cNvSpPr>
            <p:nvPr/>
          </p:nvSpPr>
          <p:spPr>
            <a:xfrm rot="5400000">
              <a:off x="1206358" y="549756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306" name="Rectangle 305"/>
            <p:cNvSpPr>
              <a:spLocks noChangeAspect="1"/>
            </p:cNvSpPr>
            <p:nvPr/>
          </p:nvSpPr>
          <p:spPr>
            <a:xfrm rot="5400000">
              <a:off x="1206358" y="556422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</p:grpSp>
      <p:pic>
        <p:nvPicPr>
          <p:cNvPr id="409" name="Picture 408" descr="1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9748" y="1058651"/>
            <a:ext cx="640037" cy="798523"/>
          </a:xfrm>
          <a:prstGeom prst="rect">
            <a:avLst/>
          </a:prstGeom>
        </p:spPr>
      </p:pic>
      <p:pic>
        <p:nvPicPr>
          <p:cNvPr id="410" name="Picture 409" descr="1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6213" y="1143790"/>
            <a:ext cx="640037" cy="646133"/>
          </a:xfrm>
          <a:prstGeom prst="rect">
            <a:avLst/>
          </a:prstGeom>
        </p:spPr>
      </p:pic>
      <p:pic>
        <p:nvPicPr>
          <p:cNvPr id="411" name="Picture 410" descr="14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4025" y="1152735"/>
            <a:ext cx="591273" cy="646133"/>
          </a:xfrm>
          <a:prstGeom prst="rect">
            <a:avLst/>
          </a:prstGeom>
        </p:spPr>
      </p:pic>
      <p:pic>
        <p:nvPicPr>
          <p:cNvPr id="413" name="Picture 412" descr="16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160" y="5050174"/>
            <a:ext cx="713184" cy="579081"/>
          </a:xfrm>
          <a:prstGeom prst="rect">
            <a:avLst/>
          </a:prstGeom>
        </p:spPr>
      </p:pic>
      <p:pic>
        <p:nvPicPr>
          <p:cNvPr id="414" name="Picture 413" descr="17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849" y="5082903"/>
            <a:ext cx="530317" cy="585177"/>
          </a:xfrm>
          <a:prstGeom prst="rect">
            <a:avLst/>
          </a:prstGeom>
        </p:spPr>
      </p:pic>
      <p:pic>
        <p:nvPicPr>
          <p:cNvPr id="415" name="Picture 414" descr="18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6471" y="5037784"/>
            <a:ext cx="609559" cy="621751"/>
          </a:xfrm>
          <a:prstGeom prst="rect">
            <a:avLst/>
          </a:prstGeom>
        </p:spPr>
      </p:pic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  <p:grpSp>
        <p:nvGrpSpPr>
          <p:cNvPr id="401" name="Group 272"/>
          <p:cNvGrpSpPr/>
          <p:nvPr/>
        </p:nvGrpSpPr>
        <p:grpSpPr>
          <a:xfrm>
            <a:off x="1295174" y="2248025"/>
            <a:ext cx="36000" cy="828133"/>
            <a:chOff x="1206358" y="4097660"/>
            <a:chExt cx="36000" cy="1502564"/>
          </a:xfrm>
        </p:grpSpPr>
        <p:sp>
          <p:nvSpPr>
            <p:cNvPr id="406" name="Rectangle 405"/>
            <p:cNvSpPr>
              <a:spLocks noChangeAspect="1"/>
            </p:cNvSpPr>
            <p:nvPr/>
          </p:nvSpPr>
          <p:spPr>
            <a:xfrm rot="5400000">
              <a:off x="1206358" y="409766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07" name="Rectangle 406"/>
            <p:cNvSpPr>
              <a:spLocks noChangeAspect="1"/>
            </p:cNvSpPr>
            <p:nvPr/>
          </p:nvSpPr>
          <p:spPr>
            <a:xfrm rot="5400000">
              <a:off x="1206358" y="416432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08" name="Rectangle 407"/>
            <p:cNvSpPr>
              <a:spLocks noChangeAspect="1"/>
            </p:cNvSpPr>
            <p:nvPr/>
          </p:nvSpPr>
          <p:spPr>
            <a:xfrm rot="5400000">
              <a:off x="1206358" y="423098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12" name="Rectangle 411"/>
            <p:cNvSpPr>
              <a:spLocks noChangeAspect="1"/>
            </p:cNvSpPr>
            <p:nvPr/>
          </p:nvSpPr>
          <p:spPr>
            <a:xfrm rot="5400000">
              <a:off x="1206358" y="429764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16" name="Rectangle 415"/>
            <p:cNvSpPr>
              <a:spLocks noChangeAspect="1"/>
            </p:cNvSpPr>
            <p:nvPr/>
          </p:nvSpPr>
          <p:spPr>
            <a:xfrm rot="5400000">
              <a:off x="1206358" y="436430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17" name="Rectangle 416"/>
            <p:cNvSpPr>
              <a:spLocks noChangeAspect="1"/>
            </p:cNvSpPr>
            <p:nvPr/>
          </p:nvSpPr>
          <p:spPr>
            <a:xfrm rot="5400000">
              <a:off x="1206358" y="443097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18" name="Rectangle 417"/>
            <p:cNvSpPr>
              <a:spLocks noChangeAspect="1"/>
            </p:cNvSpPr>
            <p:nvPr/>
          </p:nvSpPr>
          <p:spPr>
            <a:xfrm rot="5400000">
              <a:off x="1206358" y="449763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19" name="Rectangle 418"/>
            <p:cNvSpPr>
              <a:spLocks noChangeAspect="1"/>
            </p:cNvSpPr>
            <p:nvPr/>
          </p:nvSpPr>
          <p:spPr>
            <a:xfrm rot="5400000">
              <a:off x="1206358" y="456429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0" name="Rectangle 419"/>
            <p:cNvSpPr>
              <a:spLocks noChangeAspect="1"/>
            </p:cNvSpPr>
            <p:nvPr/>
          </p:nvSpPr>
          <p:spPr>
            <a:xfrm rot="5400000">
              <a:off x="1206358" y="463095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1" name="Rectangle 420"/>
            <p:cNvSpPr>
              <a:spLocks noChangeAspect="1"/>
            </p:cNvSpPr>
            <p:nvPr/>
          </p:nvSpPr>
          <p:spPr>
            <a:xfrm rot="5400000">
              <a:off x="1206358" y="469761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2" name="Rectangle 421"/>
            <p:cNvSpPr>
              <a:spLocks noChangeAspect="1"/>
            </p:cNvSpPr>
            <p:nvPr/>
          </p:nvSpPr>
          <p:spPr>
            <a:xfrm rot="5400000">
              <a:off x="1206358" y="476428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3" name="Rectangle 422"/>
            <p:cNvSpPr>
              <a:spLocks noChangeAspect="1"/>
            </p:cNvSpPr>
            <p:nvPr/>
          </p:nvSpPr>
          <p:spPr>
            <a:xfrm rot="5400000">
              <a:off x="1206358" y="483094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4" name="Rectangle 423"/>
            <p:cNvSpPr>
              <a:spLocks noChangeAspect="1"/>
            </p:cNvSpPr>
            <p:nvPr/>
          </p:nvSpPr>
          <p:spPr>
            <a:xfrm rot="5400000">
              <a:off x="1206358" y="489760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5" name="Rectangle 424"/>
            <p:cNvSpPr>
              <a:spLocks noChangeAspect="1"/>
            </p:cNvSpPr>
            <p:nvPr/>
          </p:nvSpPr>
          <p:spPr>
            <a:xfrm rot="5400000">
              <a:off x="1206358" y="496426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6" name="Rectangle 425"/>
            <p:cNvSpPr>
              <a:spLocks noChangeAspect="1"/>
            </p:cNvSpPr>
            <p:nvPr/>
          </p:nvSpPr>
          <p:spPr>
            <a:xfrm rot="5400000">
              <a:off x="1206358" y="503092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7" name="Rectangle 426"/>
            <p:cNvSpPr>
              <a:spLocks noChangeAspect="1"/>
            </p:cNvSpPr>
            <p:nvPr/>
          </p:nvSpPr>
          <p:spPr>
            <a:xfrm rot="5400000">
              <a:off x="1206358" y="509759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8" name="Rectangle 427"/>
            <p:cNvSpPr>
              <a:spLocks noChangeAspect="1"/>
            </p:cNvSpPr>
            <p:nvPr/>
          </p:nvSpPr>
          <p:spPr>
            <a:xfrm rot="5400000">
              <a:off x="1206358" y="516425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29" name="Rectangle 428"/>
            <p:cNvSpPr>
              <a:spLocks noChangeAspect="1"/>
            </p:cNvSpPr>
            <p:nvPr/>
          </p:nvSpPr>
          <p:spPr>
            <a:xfrm rot="5400000">
              <a:off x="1206358" y="523091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30" name="Rectangle 429"/>
            <p:cNvSpPr>
              <a:spLocks noChangeAspect="1"/>
            </p:cNvSpPr>
            <p:nvPr/>
          </p:nvSpPr>
          <p:spPr>
            <a:xfrm rot="5400000">
              <a:off x="1206358" y="5297576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31" name="Rectangle 430"/>
            <p:cNvSpPr>
              <a:spLocks noChangeAspect="1"/>
            </p:cNvSpPr>
            <p:nvPr/>
          </p:nvSpPr>
          <p:spPr>
            <a:xfrm rot="5400000">
              <a:off x="1206358" y="5364238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32" name="Rectangle 431"/>
            <p:cNvSpPr>
              <a:spLocks noChangeAspect="1"/>
            </p:cNvSpPr>
            <p:nvPr/>
          </p:nvSpPr>
          <p:spPr>
            <a:xfrm rot="5400000">
              <a:off x="1206358" y="5430900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33" name="Rectangle 432"/>
            <p:cNvSpPr>
              <a:spLocks noChangeAspect="1"/>
            </p:cNvSpPr>
            <p:nvPr/>
          </p:nvSpPr>
          <p:spPr>
            <a:xfrm rot="5400000">
              <a:off x="1206358" y="5497562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sp>
          <p:nvSpPr>
            <p:cNvPr id="434" name="Rectangle 433"/>
            <p:cNvSpPr>
              <a:spLocks noChangeAspect="1"/>
            </p:cNvSpPr>
            <p:nvPr/>
          </p:nvSpPr>
          <p:spPr>
            <a:xfrm rot="5400000">
              <a:off x="1206358" y="5564224"/>
              <a:ext cx="36000" cy="3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</p:grpSp>
      <p:sp>
        <p:nvSpPr>
          <p:cNvPr id="436" name="Isosceles Triangle 325"/>
          <p:cNvSpPr/>
          <p:nvPr/>
        </p:nvSpPr>
        <p:spPr>
          <a:xfrm>
            <a:off x="1228034" y="2197178"/>
            <a:ext cx="179999" cy="108000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704919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51522" y="2700791"/>
            <a:ext cx="312613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</a:pPr>
            <a:r>
              <a:rPr lang="fr-FR" dirty="0"/>
              <a:t>European Commission</a:t>
            </a:r>
          </a:p>
          <a:p>
            <a:pPr marL="288000">
              <a:spcBef>
                <a:spcPts val="0"/>
              </a:spcBef>
              <a:buClr>
                <a:srgbClr val="7AB51C"/>
              </a:buClr>
              <a:buSzPct val="80000"/>
            </a:pPr>
            <a:r>
              <a:rPr lang="fr-FR" dirty="0">
                <a:solidFill>
                  <a:srgbClr val="00B1EB"/>
                </a:solidFill>
              </a:rPr>
              <a:t>Standardization </a:t>
            </a:r>
            <a:r>
              <a:rPr lang="en-GB" dirty="0">
                <a:solidFill>
                  <a:srgbClr val="00B1EB"/>
                </a:solidFill>
              </a:rPr>
              <a:t>requests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6205227" y="3645026"/>
            <a:ext cx="283127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288000" indent="-288000">
              <a:spcBef>
                <a:spcPts val="1200"/>
              </a:spcBef>
              <a:buClr>
                <a:srgbClr val="00B1EB"/>
              </a:buClr>
              <a:buSzPct val="80000"/>
              <a:buFont typeface="Wingdings" panose="05000000000000000000" pitchFamily="2" charset="2"/>
              <a:buChar char="ü"/>
            </a:pPr>
            <a:r>
              <a:rPr lang="fr-FR" dirty="0"/>
              <a:t>Consumers</a:t>
            </a:r>
          </a:p>
          <a:p>
            <a:pPr marL="288000" lvl="1">
              <a:spcBef>
                <a:spcPts val="0"/>
              </a:spcBef>
              <a:buClr>
                <a:srgbClr val="7AB51C"/>
              </a:buClr>
              <a:buSzPct val="80000"/>
            </a:pPr>
            <a:r>
              <a:rPr lang="fr-FR" dirty="0">
                <a:solidFill>
                  <a:srgbClr val="00B1EB"/>
                </a:solidFill>
              </a:rPr>
              <a:t>To protect </a:t>
            </a:r>
            <a:r>
              <a:rPr lang="en-US" dirty="0">
                <a:solidFill>
                  <a:srgbClr val="00B1EB"/>
                </a:solidFill>
              </a:rPr>
              <a:t>individuals, the environment</a:t>
            </a:r>
            <a:endParaRPr lang="fr-FR" dirty="0">
              <a:solidFill>
                <a:srgbClr val="00B1EB"/>
              </a:solidFill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6205228" y="4849996"/>
            <a:ext cx="224042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</a:pPr>
            <a:r>
              <a:rPr lang="fr-FR" dirty="0"/>
              <a:t>Assesors</a:t>
            </a:r>
          </a:p>
          <a:p>
            <a:pPr marL="288000">
              <a:spcBef>
                <a:spcPts val="0"/>
              </a:spcBef>
              <a:buClr>
                <a:srgbClr val="7AB51C"/>
              </a:buClr>
              <a:buSzPct val="80000"/>
            </a:pPr>
            <a:r>
              <a:rPr lang="fr-FR" dirty="0">
                <a:solidFill>
                  <a:srgbClr val="00B1EB"/>
                </a:solidFill>
              </a:rPr>
              <a:t>To give guarantees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250054" y="4340853"/>
            <a:ext cx="312760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</a:pPr>
            <a:r>
              <a:rPr lang="fr-FR" dirty="0"/>
              <a:t>Professional federations</a:t>
            </a:r>
          </a:p>
          <a:p>
            <a:pPr marL="288000">
              <a:spcBef>
                <a:spcPts val="0"/>
              </a:spcBef>
              <a:buClr>
                <a:srgbClr val="7AB51C"/>
              </a:buClr>
              <a:buSzPct val="80000"/>
            </a:pPr>
            <a:r>
              <a:rPr lang="fr-FR" dirty="0">
                <a:solidFill>
                  <a:srgbClr val="00B1EB"/>
                </a:solidFill>
              </a:rPr>
              <a:t>For collective technical / political actions</a:t>
            </a:r>
          </a:p>
        </p:txBody>
      </p:sp>
      <p:sp>
        <p:nvSpPr>
          <p:cNvPr id="15" name="Rectangle 17"/>
          <p:cNvSpPr>
            <a:spLocks noChangeArrowheads="1"/>
          </p:cNvSpPr>
          <p:nvPr/>
        </p:nvSpPr>
        <p:spPr bwMode="auto">
          <a:xfrm>
            <a:off x="3577260" y="1844826"/>
            <a:ext cx="26107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</a:pPr>
            <a:r>
              <a:rPr lang="fr-FR" dirty="0"/>
              <a:t>Public authorities</a:t>
            </a:r>
          </a:p>
          <a:p>
            <a:pPr marL="288000">
              <a:spcBef>
                <a:spcPts val="0"/>
              </a:spcBef>
              <a:buClr>
                <a:srgbClr val="7AB51C"/>
              </a:buClr>
              <a:buSzPct val="80000"/>
            </a:pPr>
            <a:r>
              <a:rPr lang="fr-FR" dirty="0">
                <a:solidFill>
                  <a:srgbClr val="00B1EB"/>
                </a:solidFill>
              </a:rPr>
              <a:t>To support regulatory requirements</a:t>
            </a:r>
          </a:p>
        </p:txBody>
      </p:sp>
      <p:sp>
        <p:nvSpPr>
          <p:cNvPr id="18" name="Rectangle 23"/>
          <p:cNvSpPr>
            <a:spLocks noChangeArrowheads="1"/>
          </p:cNvSpPr>
          <p:nvPr/>
        </p:nvSpPr>
        <p:spPr bwMode="auto">
          <a:xfrm>
            <a:off x="6205226" y="2708922"/>
            <a:ext cx="8143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rgbClr val="00B1EB"/>
              </a:buClr>
              <a:buSzPct val="80000"/>
              <a:buFont typeface="Wingdings" panose="05000000000000000000" pitchFamily="2" charset="2"/>
              <a:buChar char="ü"/>
            </a:pPr>
            <a:r>
              <a:rPr lang="fr-FR" dirty="0"/>
              <a:t>NGO</a:t>
            </a:r>
          </a:p>
        </p:txBody>
      </p:sp>
      <p:sp>
        <p:nvSpPr>
          <p:cNvPr id="20" name="Rectangle 25"/>
          <p:cNvSpPr>
            <a:spLocks noChangeArrowheads="1"/>
          </p:cNvSpPr>
          <p:nvPr/>
        </p:nvSpPr>
        <p:spPr bwMode="auto">
          <a:xfrm>
            <a:off x="3577258" y="5301210"/>
            <a:ext cx="272293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</a:pPr>
            <a:r>
              <a:rPr lang="fr-FR" dirty="0"/>
              <a:t>Enterprises</a:t>
            </a:r>
          </a:p>
          <a:p>
            <a:pPr marL="288000">
              <a:spcBef>
                <a:spcPts val="0"/>
              </a:spcBef>
              <a:buClr>
                <a:srgbClr val="7AB51C"/>
              </a:buClr>
              <a:buSzPct val="80000"/>
            </a:pPr>
            <a:r>
              <a:rPr lang="en-US" dirty="0">
                <a:solidFill>
                  <a:srgbClr val="00B1EB"/>
                </a:solidFill>
              </a:rPr>
              <a:t>Individual actions with collective aim</a:t>
            </a:r>
            <a:endParaRPr lang="fr-FR" dirty="0">
              <a:solidFill>
                <a:srgbClr val="00B1EB"/>
              </a:solidFill>
            </a:endParaRPr>
          </a:p>
        </p:txBody>
      </p:sp>
      <p:grpSp>
        <p:nvGrpSpPr>
          <p:cNvPr id="26" name="Groupe 25"/>
          <p:cNvGrpSpPr/>
          <p:nvPr/>
        </p:nvGrpSpPr>
        <p:grpSpPr>
          <a:xfrm>
            <a:off x="3186930" y="3178134"/>
            <a:ext cx="2692375" cy="1608125"/>
            <a:chOff x="-842855" y="2791929"/>
            <a:chExt cx="1751239" cy="990531"/>
          </a:xfrm>
        </p:grpSpPr>
        <p:sp>
          <p:nvSpPr>
            <p:cNvPr id="27" name="Rectangle à coins arrondis 13"/>
            <p:cNvSpPr/>
            <p:nvPr/>
          </p:nvSpPr>
          <p:spPr bwMode="auto">
            <a:xfrm rot="16200000">
              <a:off x="-418295" y="2455781"/>
              <a:ext cx="955195" cy="1698163"/>
            </a:xfrm>
            <a:custGeom>
              <a:avLst/>
              <a:gdLst>
                <a:gd name="connsiteX0" fmla="*/ 0 w 1115164"/>
                <a:gd name="connsiteY0" fmla="*/ 185864 h 1272229"/>
                <a:gd name="connsiteX1" fmla="*/ 185864 w 1115164"/>
                <a:gd name="connsiteY1" fmla="*/ 0 h 1272229"/>
                <a:gd name="connsiteX2" fmla="*/ 929300 w 1115164"/>
                <a:gd name="connsiteY2" fmla="*/ 0 h 1272229"/>
                <a:gd name="connsiteX3" fmla="*/ 1115164 w 1115164"/>
                <a:gd name="connsiteY3" fmla="*/ 185864 h 1272229"/>
                <a:gd name="connsiteX4" fmla="*/ 1115164 w 1115164"/>
                <a:gd name="connsiteY4" fmla="*/ 1086365 h 1272229"/>
                <a:gd name="connsiteX5" fmla="*/ 929300 w 1115164"/>
                <a:gd name="connsiteY5" fmla="*/ 1272229 h 1272229"/>
                <a:gd name="connsiteX6" fmla="*/ 185864 w 1115164"/>
                <a:gd name="connsiteY6" fmla="*/ 1272229 h 1272229"/>
                <a:gd name="connsiteX7" fmla="*/ 0 w 1115164"/>
                <a:gd name="connsiteY7" fmla="*/ 1086365 h 1272229"/>
                <a:gd name="connsiteX8" fmla="*/ 0 w 1115164"/>
                <a:gd name="connsiteY8" fmla="*/ 185864 h 1272229"/>
                <a:gd name="connsiteX0" fmla="*/ 0 w 1119926"/>
                <a:gd name="connsiteY0" fmla="*/ 185864 h 1272229"/>
                <a:gd name="connsiteX1" fmla="*/ 185864 w 1119926"/>
                <a:gd name="connsiteY1" fmla="*/ 0 h 1272229"/>
                <a:gd name="connsiteX2" fmla="*/ 929300 w 1119926"/>
                <a:gd name="connsiteY2" fmla="*/ 0 h 1272229"/>
                <a:gd name="connsiteX3" fmla="*/ 1115164 w 1119926"/>
                <a:gd name="connsiteY3" fmla="*/ 185864 h 1272229"/>
                <a:gd name="connsiteX4" fmla="*/ 1119926 w 1119926"/>
                <a:gd name="connsiteY4" fmla="*/ 1148278 h 1272229"/>
                <a:gd name="connsiteX5" fmla="*/ 929300 w 1119926"/>
                <a:gd name="connsiteY5" fmla="*/ 1272229 h 1272229"/>
                <a:gd name="connsiteX6" fmla="*/ 185864 w 1119926"/>
                <a:gd name="connsiteY6" fmla="*/ 1272229 h 1272229"/>
                <a:gd name="connsiteX7" fmla="*/ 0 w 1119926"/>
                <a:gd name="connsiteY7" fmla="*/ 1086365 h 1272229"/>
                <a:gd name="connsiteX8" fmla="*/ 0 w 1119926"/>
                <a:gd name="connsiteY8" fmla="*/ 185864 h 1272229"/>
                <a:gd name="connsiteX0" fmla="*/ 0 w 1119926"/>
                <a:gd name="connsiteY0" fmla="*/ 185864 h 1272229"/>
                <a:gd name="connsiteX1" fmla="*/ 185864 w 1119926"/>
                <a:gd name="connsiteY1" fmla="*/ 0 h 1272229"/>
                <a:gd name="connsiteX2" fmla="*/ 929300 w 1119926"/>
                <a:gd name="connsiteY2" fmla="*/ 0 h 1272229"/>
                <a:gd name="connsiteX3" fmla="*/ 1115164 w 1119926"/>
                <a:gd name="connsiteY3" fmla="*/ 185864 h 1272229"/>
                <a:gd name="connsiteX4" fmla="*/ 1119926 w 1119926"/>
                <a:gd name="connsiteY4" fmla="*/ 1148278 h 1272229"/>
                <a:gd name="connsiteX5" fmla="*/ 986450 w 1119926"/>
                <a:gd name="connsiteY5" fmla="*/ 1272229 h 1272229"/>
                <a:gd name="connsiteX6" fmla="*/ 185864 w 1119926"/>
                <a:gd name="connsiteY6" fmla="*/ 1272229 h 1272229"/>
                <a:gd name="connsiteX7" fmla="*/ 0 w 1119926"/>
                <a:gd name="connsiteY7" fmla="*/ 1086365 h 1272229"/>
                <a:gd name="connsiteX8" fmla="*/ 0 w 1119926"/>
                <a:gd name="connsiteY8" fmla="*/ 185864 h 1272229"/>
                <a:gd name="connsiteX0" fmla="*/ 0 w 1119926"/>
                <a:gd name="connsiteY0" fmla="*/ 209676 h 1296041"/>
                <a:gd name="connsiteX1" fmla="*/ 162052 w 1119926"/>
                <a:gd name="connsiteY1" fmla="*/ 0 h 1296041"/>
                <a:gd name="connsiteX2" fmla="*/ 929300 w 1119926"/>
                <a:gd name="connsiteY2" fmla="*/ 23812 h 1296041"/>
                <a:gd name="connsiteX3" fmla="*/ 1115164 w 1119926"/>
                <a:gd name="connsiteY3" fmla="*/ 209676 h 1296041"/>
                <a:gd name="connsiteX4" fmla="*/ 1119926 w 1119926"/>
                <a:gd name="connsiteY4" fmla="*/ 1172090 h 1296041"/>
                <a:gd name="connsiteX5" fmla="*/ 986450 w 1119926"/>
                <a:gd name="connsiteY5" fmla="*/ 1296041 h 1296041"/>
                <a:gd name="connsiteX6" fmla="*/ 185864 w 1119926"/>
                <a:gd name="connsiteY6" fmla="*/ 1296041 h 1296041"/>
                <a:gd name="connsiteX7" fmla="*/ 0 w 1119926"/>
                <a:gd name="connsiteY7" fmla="*/ 1110177 h 1296041"/>
                <a:gd name="connsiteX8" fmla="*/ 0 w 1119926"/>
                <a:gd name="connsiteY8" fmla="*/ 209676 h 1296041"/>
                <a:gd name="connsiteX0" fmla="*/ 0 w 1124688"/>
                <a:gd name="connsiteY0" fmla="*/ 147763 h 1296041"/>
                <a:gd name="connsiteX1" fmla="*/ 166814 w 1124688"/>
                <a:gd name="connsiteY1" fmla="*/ 0 h 1296041"/>
                <a:gd name="connsiteX2" fmla="*/ 934062 w 1124688"/>
                <a:gd name="connsiteY2" fmla="*/ 23812 h 1296041"/>
                <a:gd name="connsiteX3" fmla="*/ 1119926 w 1124688"/>
                <a:gd name="connsiteY3" fmla="*/ 209676 h 1296041"/>
                <a:gd name="connsiteX4" fmla="*/ 1124688 w 1124688"/>
                <a:gd name="connsiteY4" fmla="*/ 1172090 h 1296041"/>
                <a:gd name="connsiteX5" fmla="*/ 991212 w 1124688"/>
                <a:gd name="connsiteY5" fmla="*/ 1296041 h 1296041"/>
                <a:gd name="connsiteX6" fmla="*/ 190626 w 1124688"/>
                <a:gd name="connsiteY6" fmla="*/ 1296041 h 1296041"/>
                <a:gd name="connsiteX7" fmla="*/ 4762 w 1124688"/>
                <a:gd name="connsiteY7" fmla="*/ 1110177 h 1296041"/>
                <a:gd name="connsiteX8" fmla="*/ 0 w 1124688"/>
                <a:gd name="connsiteY8" fmla="*/ 147763 h 1296041"/>
                <a:gd name="connsiteX0" fmla="*/ 0 w 1124688"/>
                <a:gd name="connsiteY0" fmla="*/ 147763 h 1296041"/>
                <a:gd name="connsiteX1" fmla="*/ 166814 w 1124688"/>
                <a:gd name="connsiteY1" fmla="*/ 0 h 1296041"/>
                <a:gd name="connsiteX2" fmla="*/ 934062 w 1124688"/>
                <a:gd name="connsiteY2" fmla="*/ 23812 h 1296041"/>
                <a:gd name="connsiteX3" fmla="*/ 1119926 w 1124688"/>
                <a:gd name="connsiteY3" fmla="*/ 209676 h 1296041"/>
                <a:gd name="connsiteX4" fmla="*/ 1124688 w 1124688"/>
                <a:gd name="connsiteY4" fmla="*/ 1172090 h 1296041"/>
                <a:gd name="connsiteX5" fmla="*/ 991212 w 1124688"/>
                <a:gd name="connsiteY5" fmla="*/ 1296041 h 1296041"/>
                <a:gd name="connsiteX6" fmla="*/ 190626 w 1124688"/>
                <a:gd name="connsiteY6" fmla="*/ 1296041 h 1296041"/>
                <a:gd name="connsiteX7" fmla="*/ 23812 w 1124688"/>
                <a:gd name="connsiteY7" fmla="*/ 1133990 h 1296041"/>
                <a:gd name="connsiteX8" fmla="*/ 0 w 1124688"/>
                <a:gd name="connsiteY8" fmla="*/ 147763 h 1296041"/>
                <a:gd name="connsiteX0" fmla="*/ 0 w 1124688"/>
                <a:gd name="connsiteY0" fmla="*/ 147763 h 1305566"/>
                <a:gd name="connsiteX1" fmla="*/ 166814 w 1124688"/>
                <a:gd name="connsiteY1" fmla="*/ 0 h 1305566"/>
                <a:gd name="connsiteX2" fmla="*/ 934062 w 1124688"/>
                <a:gd name="connsiteY2" fmla="*/ 23812 h 1305566"/>
                <a:gd name="connsiteX3" fmla="*/ 1119926 w 1124688"/>
                <a:gd name="connsiteY3" fmla="*/ 209676 h 1305566"/>
                <a:gd name="connsiteX4" fmla="*/ 1124688 w 1124688"/>
                <a:gd name="connsiteY4" fmla="*/ 1172090 h 1305566"/>
                <a:gd name="connsiteX5" fmla="*/ 991212 w 1124688"/>
                <a:gd name="connsiteY5" fmla="*/ 1296041 h 1305566"/>
                <a:gd name="connsiteX6" fmla="*/ 171576 w 1124688"/>
                <a:gd name="connsiteY6" fmla="*/ 1305566 h 1305566"/>
                <a:gd name="connsiteX7" fmla="*/ 23812 w 1124688"/>
                <a:gd name="connsiteY7" fmla="*/ 1133990 h 1305566"/>
                <a:gd name="connsiteX8" fmla="*/ 0 w 1124688"/>
                <a:gd name="connsiteY8" fmla="*/ 147763 h 1305566"/>
                <a:gd name="connsiteX0" fmla="*/ 0 w 1124688"/>
                <a:gd name="connsiteY0" fmla="*/ 147763 h 1305566"/>
                <a:gd name="connsiteX1" fmla="*/ 166814 w 1124688"/>
                <a:gd name="connsiteY1" fmla="*/ 0 h 1305566"/>
                <a:gd name="connsiteX2" fmla="*/ 972162 w 1124688"/>
                <a:gd name="connsiteY2" fmla="*/ 14287 h 1305566"/>
                <a:gd name="connsiteX3" fmla="*/ 1119926 w 1124688"/>
                <a:gd name="connsiteY3" fmla="*/ 209676 h 1305566"/>
                <a:gd name="connsiteX4" fmla="*/ 1124688 w 1124688"/>
                <a:gd name="connsiteY4" fmla="*/ 1172090 h 1305566"/>
                <a:gd name="connsiteX5" fmla="*/ 991212 w 1124688"/>
                <a:gd name="connsiteY5" fmla="*/ 1296041 h 1305566"/>
                <a:gd name="connsiteX6" fmla="*/ 171576 w 1124688"/>
                <a:gd name="connsiteY6" fmla="*/ 1305566 h 1305566"/>
                <a:gd name="connsiteX7" fmla="*/ 23812 w 1124688"/>
                <a:gd name="connsiteY7" fmla="*/ 1133990 h 1305566"/>
                <a:gd name="connsiteX8" fmla="*/ 0 w 1124688"/>
                <a:gd name="connsiteY8" fmla="*/ 147763 h 1305566"/>
                <a:gd name="connsiteX0" fmla="*/ 0 w 1134214"/>
                <a:gd name="connsiteY0" fmla="*/ 147763 h 1305566"/>
                <a:gd name="connsiteX1" fmla="*/ 166814 w 1134214"/>
                <a:gd name="connsiteY1" fmla="*/ 0 h 1305566"/>
                <a:gd name="connsiteX2" fmla="*/ 972162 w 1134214"/>
                <a:gd name="connsiteY2" fmla="*/ 14287 h 1305566"/>
                <a:gd name="connsiteX3" fmla="*/ 1134214 w 1134214"/>
                <a:gd name="connsiteY3" fmla="*/ 195389 h 1305566"/>
                <a:gd name="connsiteX4" fmla="*/ 1124688 w 1134214"/>
                <a:gd name="connsiteY4" fmla="*/ 1172090 h 1305566"/>
                <a:gd name="connsiteX5" fmla="*/ 991212 w 1134214"/>
                <a:gd name="connsiteY5" fmla="*/ 1296041 h 1305566"/>
                <a:gd name="connsiteX6" fmla="*/ 171576 w 1134214"/>
                <a:gd name="connsiteY6" fmla="*/ 1305566 h 1305566"/>
                <a:gd name="connsiteX7" fmla="*/ 23812 w 1134214"/>
                <a:gd name="connsiteY7" fmla="*/ 1133990 h 1305566"/>
                <a:gd name="connsiteX8" fmla="*/ 0 w 1134214"/>
                <a:gd name="connsiteY8" fmla="*/ 147763 h 1305566"/>
                <a:gd name="connsiteX0" fmla="*/ 0 w 1119926"/>
                <a:gd name="connsiteY0" fmla="*/ 133476 h 1305566"/>
                <a:gd name="connsiteX1" fmla="*/ 152526 w 1119926"/>
                <a:gd name="connsiteY1" fmla="*/ 0 h 1305566"/>
                <a:gd name="connsiteX2" fmla="*/ 957874 w 1119926"/>
                <a:gd name="connsiteY2" fmla="*/ 14287 h 1305566"/>
                <a:gd name="connsiteX3" fmla="*/ 1119926 w 1119926"/>
                <a:gd name="connsiteY3" fmla="*/ 195389 h 1305566"/>
                <a:gd name="connsiteX4" fmla="*/ 1110400 w 1119926"/>
                <a:gd name="connsiteY4" fmla="*/ 1172090 h 1305566"/>
                <a:gd name="connsiteX5" fmla="*/ 976924 w 1119926"/>
                <a:gd name="connsiteY5" fmla="*/ 1296041 h 1305566"/>
                <a:gd name="connsiteX6" fmla="*/ 157288 w 1119926"/>
                <a:gd name="connsiteY6" fmla="*/ 1305566 h 1305566"/>
                <a:gd name="connsiteX7" fmla="*/ 9524 w 1119926"/>
                <a:gd name="connsiteY7" fmla="*/ 1133990 h 1305566"/>
                <a:gd name="connsiteX8" fmla="*/ 0 w 1119926"/>
                <a:gd name="connsiteY8" fmla="*/ 133476 h 1305566"/>
                <a:gd name="connsiteX0" fmla="*/ 0 w 1115164"/>
                <a:gd name="connsiteY0" fmla="*/ 152526 h 1305566"/>
                <a:gd name="connsiteX1" fmla="*/ 147764 w 1115164"/>
                <a:gd name="connsiteY1" fmla="*/ 0 h 1305566"/>
                <a:gd name="connsiteX2" fmla="*/ 953112 w 1115164"/>
                <a:gd name="connsiteY2" fmla="*/ 14287 h 1305566"/>
                <a:gd name="connsiteX3" fmla="*/ 1115164 w 1115164"/>
                <a:gd name="connsiteY3" fmla="*/ 195389 h 1305566"/>
                <a:gd name="connsiteX4" fmla="*/ 1105638 w 1115164"/>
                <a:gd name="connsiteY4" fmla="*/ 1172090 h 1305566"/>
                <a:gd name="connsiteX5" fmla="*/ 972162 w 1115164"/>
                <a:gd name="connsiteY5" fmla="*/ 1296041 h 1305566"/>
                <a:gd name="connsiteX6" fmla="*/ 152526 w 1115164"/>
                <a:gd name="connsiteY6" fmla="*/ 1305566 h 1305566"/>
                <a:gd name="connsiteX7" fmla="*/ 4762 w 1115164"/>
                <a:gd name="connsiteY7" fmla="*/ 1133990 h 1305566"/>
                <a:gd name="connsiteX8" fmla="*/ 0 w 1115164"/>
                <a:gd name="connsiteY8" fmla="*/ 152526 h 1305566"/>
                <a:gd name="connsiteX0" fmla="*/ 0 w 1105639"/>
                <a:gd name="connsiteY0" fmla="*/ 152526 h 1305566"/>
                <a:gd name="connsiteX1" fmla="*/ 147764 w 1105639"/>
                <a:gd name="connsiteY1" fmla="*/ 0 h 1305566"/>
                <a:gd name="connsiteX2" fmla="*/ 953112 w 1105639"/>
                <a:gd name="connsiteY2" fmla="*/ 14287 h 1305566"/>
                <a:gd name="connsiteX3" fmla="*/ 1105639 w 1105639"/>
                <a:gd name="connsiteY3" fmla="*/ 166814 h 1305566"/>
                <a:gd name="connsiteX4" fmla="*/ 1105638 w 1105639"/>
                <a:gd name="connsiteY4" fmla="*/ 1172090 h 1305566"/>
                <a:gd name="connsiteX5" fmla="*/ 972162 w 1105639"/>
                <a:gd name="connsiteY5" fmla="*/ 1296041 h 1305566"/>
                <a:gd name="connsiteX6" fmla="*/ 152526 w 1105639"/>
                <a:gd name="connsiteY6" fmla="*/ 1305566 h 1305566"/>
                <a:gd name="connsiteX7" fmla="*/ 4762 w 1105639"/>
                <a:gd name="connsiteY7" fmla="*/ 1133990 h 1305566"/>
                <a:gd name="connsiteX8" fmla="*/ 0 w 1105639"/>
                <a:gd name="connsiteY8" fmla="*/ 152526 h 1305566"/>
                <a:gd name="connsiteX0" fmla="*/ 0 w 1105639"/>
                <a:gd name="connsiteY0" fmla="*/ 162051 h 1315091"/>
                <a:gd name="connsiteX1" fmla="*/ 157289 w 1105639"/>
                <a:gd name="connsiteY1" fmla="*/ 0 h 1315091"/>
                <a:gd name="connsiteX2" fmla="*/ 953112 w 1105639"/>
                <a:gd name="connsiteY2" fmla="*/ 23812 h 1315091"/>
                <a:gd name="connsiteX3" fmla="*/ 1105639 w 1105639"/>
                <a:gd name="connsiteY3" fmla="*/ 176339 h 1315091"/>
                <a:gd name="connsiteX4" fmla="*/ 1105638 w 1105639"/>
                <a:gd name="connsiteY4" fmla="*/ 1181615 h 1315091"/>
                <a:gd name="connsiteX5" fmla="*/ 972162 w 1105639"/>
                <a:gd name="connsiteY5" fmla="*/ 1305566 h 1315091"/>
                <a:gd name="connsiteX6" fmla="*/ 152526 w 1105639"/>
                <a:gd name="connsiteY6" fmla="*/ 1315091 h 1315091"/>
                <a:gd name="connsiteX7" fmla="*/ 4762 w 1105639"/>
                <a:gd name="connsiteY7" fmla="*/ 1143515 h 1315091"/>
                <a:gd name="connsiteX8" fmla="*/ 0 w 1105639"/>
                <a:gd name="connsiteY8" fmla="*/ 162051 h 1315091"/>
                <a:gd name="connsiteX0" fmla="*/ 0 w 1105639"/>
                <a:gd name="connsiteY0" fmla="*/ 162051 h 1315091"/>
                <a:gd name="connsiteX1" fmla="*/ 157289 w 1105639"/>
                <a:gd name="connsiteY1" fmla="*/ 0 h 1315091"/>
                <a:gd name="connsiteX2" fmla="*/ 953112 w 1105639"/>
                <a:gd name="connsiteY2" fmla="*/ 23812 h 1315091"/>
                <a:gd name="connsiteX3" fmla="*/ 1105639 w 1105639"/>
                <a:gd name="connsiteY3" fmla="*/ 176339 h 1315091"/>
                <a:gd name="connsiteX4" fmla="*/ 1100876 w 1105639"/>
                <a:gd name="connsiteY4" fmla="*/ 1119702 h 1315091"/>
                <a:gd name="connsiteX5" fmla="*/ 972162 w 1105639"/>
                <a:gd name="connsiteY5" fmla="*/ 1305566 h 1315091"/>
                <a:gd name="connsiteX6" fmla="*/ 152526 w 1105639"/>
                <a:gd name="connsiteY6" fmla="*/ 1315091 h 1315091"/>
                <a:gd name="connsiteX7" fmla="*/ 4762 w 1105639"/>
                <a:gd name="connsiteY7" fmla="*/ 1143515 h 1315091"/>
                <a:gd name="connsiteX8" fmla="*/ 0 w 1105639"/>
                <a:gd name="connsiteY8" fmla="*/ 162051 h 1315091"/>
                <a:gd name="connsiteX0" fmla="*/ 0 w 1105639"/>
                <a:gd name="connsiteY0" fmla="*/ 162051 h 1315091"/>
                <a:gd name="connsiteX1" fmla="*/ 157289 w 1105639"/>
                <a:gd name="connsiteY1" fmla="*/ 0 h 1315091"/>
                <a:gd name="connsiteX2" fmla="*/ 953112 w 1105639"/>
                <a:gd name="connsiteY2" fmla="*/ 23812 h 1315091"/>
                <a:gd name="connsiteX3" fmla="*/ 1105639 w 1105639"/>
                <a:gd name="connsiteY3" fmla="*/ 176339 h 1315091"/>
                <a:gd name="connsiteX4" fmla="*/ 1100876 w 1105639"/>
                <a:gd name="connsiteY4" fmla="*/ 1119702 h 1315091"/>
                <a:gd name="connsiteX5" fmla="*/ 967400 w 1105639"/>
                <a:gd name="connsiteY5" fmla="*/ 1286516 h 1315091"/>
                <a:gd name="connsiteX6" fmla="*/ 152526 w 1105639"/>
                <a:gd name="connsiteY6" fmla="*/ 1315091 h 1315091"/>
                <a:gd name="connsiteX7" fmla="*/ 4762 w 1105639"/>
                <a:gd name="connsiteY7" fmla="*/ 1143515 h 1315091"/>
                <a:gd name="connsiteX8" fmla="*/ 0 w 1105639"/>
                <a:gd name="connsiteY8" fmla="*/ 162051 h 1315091"/>
                <a:gd name="connsiteX0" fmla="*/ 0 w 1105639"/>
                <a:gd name="connsiteY0" fmla="*/ 162051 h 1315091"/>
                <a:gd name="connsiteX1" fmla="*/ 157289 w 1105639"/>
                <a:gd name="connsiteY1" fmla="*/ 0 h 1315091"/>
                <a:gd name="connsiteX2" fmla="*/ 953112 w 1105639"/>
                <a:gd name="connsiteY2" fmla="*/ 23812 h 1315091"/>
                <a:gd name="connsiteX3" fmla="*/ 1105639 w 1105639"/>
                <a:gd name="connsiteY3" fmla="*/ 176339 h 1315091"/>
                <a:gd name="connsiteX4" fmla="*/ 1100876 w 1105639"/>
                <a:gd name="connsiteY4" fmla="*/ 1119702 h 1315091"/>
                <a:gd name="connsiteX5" fmla="*/ 967400 w 1105639"/>
                <a:gd name="connsiteY5" fmla="*/ 1286516 h 1315091"/>
                <a:gd name="connsiteX6" fmla="*/ 152526 w 1105639"/>
                <a:gd name="connsiteY6" fmla="*/ 1315091 h 1315091"/>
                <a:gd name="connsiteX7" fmla="*/ 4762 w 1105639"/>
                <a:gd name="connsiteY7" fmla="*/ 1143515 h 1315091"/>
                <a:gd name="connsiteX8" fmla="*/ 0 w 1105639"/>
                <a:gd name="connsiteY8" fmla="*/ 162051 h 1315091"/>
                <a:gd name="connsiteX0" fmla="*/ 1277 w 1106916"/>
                <a:gd name="connsiteY0" fmla="*/ 162051 h 1315091"/>
                <a:gd name="connsiteX1" fmla="*/ 158566 w 1106916"/>
                <a:gd name="connsiteY1" fmla="*/ 0 h 1315091"/>
                <a:gd name="connsiteX2" fmla="*/ 954389 w 1106916"/>
                <a:gd name="connsiteY2" fmla="*/ 23812 h 1315091"/>
                <a:gd name="connsiteX3" fmla="*/ 1106916 w 1106916"/>
                <a:gd name="connsiteY3" fmla="*/ 176339 h 1315091"/>
                <a:gd name="connsiteX4" fmla="*/ 1102153 w 1106916"/>
                <a:gd name="connsiteY4" fmla="*/ 1119702 h 1315091"/>
                <a:gd name="connsiteX5" fmla="*/ 968677 w 1106916"/>
                <a:gd name="connsiteY5" fmla="*/ 1286516 h 1315091"/>
                <a:gd name="connsiteX6" fmla="*/ 153803 w 1106916"/>
                <a:gd name="connsiteY6" fmla="*/ 1315091 h 1315091"/>
                <a:gd name="connsiteX7" fmla="*/ 6039 w 1106916"/>
                <a:gd name="connsiteY7" fmla="*/ 1143515 h 1315091"/>
                <a:gd name="connsiteX8" fmla="*/ 1277 w 1106916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7872 h 1320912"/>
                <a:gd name="connsiteX1" fmla="*/ 160282 w 1108632"/>
                <a:gd name="connsiteY1" fmla="*/ 5821 h 1320912"/>
                <a:gd name="connsiteX2" fmla="*/ 956105 w 1108632"/>
                <a:gd name="connsiteY2" fmla="*/ 29633 h 1320912"/>
                <a:gd name="connsiteX3" fmla="*/ 1108632 w 1108632"/>
                <a:gd name="connsiteY3" fmla="*/ 182160 h 1320912"/>
                <a:gd name="connsiteX4" fmla="*/ 1103869 w 1108632"/>
                <a:gd name="connsiteY4" fmla="*/ 1125523 h 1320912"/>
                <a:gd name="connsiteX5" fmla="*/ 970393 w 1108632"/>
                <a:gd name="connsiteY5" fmla="*/ 1292337 h 1320912"/>
                <a:gd name="connsiteX6" fmla="*/ 155519 w 1108632"/>
                <a:gd name="connsiteY6" fmla="*/ 1320912 h 1320912"/>
                <a:gd name="connsiteX7" fmla="*/ 7755 w 1108632"/>
                <a:gd name="connsiteY7" fmla="*/ 1149336 h 1320912"/>
                <a:gd name="connsiteX8" fmla="*/ 2993 w 1108632"/>
                <a:gd name="connsiteY8" fmla="*/ 167872 h 1320912"/>
                <a:gd name="connsiteX0" fmla="*/ 2993 w 1108632"/>
                <a:gd name="connsiteY0" fmla="*/ 167872 h 1320912"/>
                <a:gd name="connsiteX1" fmla="*/ 160282 w 1108632"/>
                <a:gd name="connsiteY1" fmla="*/ 5821 h 1320912"/>
                <a:gd name="connsiteX2" fmla="*/ 956105 w 1108632"/>
                <a:gd name="connsiteY2" fmla="*/ 29633 h 1320912"/>
                <a:gd name="connsiteX3" fmla="*/ 1108632 w 1108632"/>
                <a:gd name="connsiteY3" fmla="*/ 182160 h 1320912"/>
                <a:gd name="connsiteX4" fmla="*/ 1103869 w 1108632"/>
                <a:gd name="connsiteY4" fmla="*/ 1125523 h 1320912"/>
                <a:gd name="connsiteX5" fmla="*/ 970393 w 1108632"/>
                <a:gd name="connsiteY5" fmla="*/ 1292337 h 1320912"/>
                <a:gd name="connsiteX6" fmla="*/ 155519 w 1108632"/>
                <a:gd name="connsiteY6" fmla="*/ 1320912 h 1320912"/>
                <a:gd name="connsiteX7" fmla="*/ 7755 w 1108632"/>
                <a:gd name="connsiteY7" fmla="*/ 1149336 h 1320912"/>
                <a:gd name="connsiteX8" fmla="*/ 2993 w 1108632"/>
                <a:gd name="connsiteY8" fmla="*/ 167872 h 1320912"/>
                <a:gd name="connsiteX0" fmla="*/ 2993 w 1108632"/>
                <a:gd name="connsiteY0" fmla="*/ 173368 h 1326408"/>
                <a:gd name="connsiteX1" fmla="*/ 160282 w 1108632"/>
                <a:gd name="connsiteY1" fmla="*/ 11317 h 1326408"/>
                <a:gd name="connsiteX2" fmla="*/ 960867 w 1108632"/>
                <a:gd name="connsiteY2" fmla="*/ 20841 h 1326408"/>
                <a:gd name="connsiteX3" fmla="*/ 1108632 w 1108632"/>
                <a:gd name="connsiteY3" fmla="*/ 187656 h 1326408"/>
                <a:gd name="connsiteX4" fmla="*/ 1103869 w 1108632"/>
                <a:gd name="connsiteY4" fmla="*/ 1131019 h 1326408"/>
                <a:gd name="connsiteX5" fmla="*/ 970393 w 1108632"/>
                <a:gd name="connsiteY5" fmla="*/ 1297833 h 1326408"/>
                <a:gd name="connsiteX6" fmla="*/ 155519 w 1108632"/>
                <a:gd name="connsiteY6" fmla="*/ 1326408 h 1326408"/>
                <a:gd name="connsiteX7" fmla="*/ 7755 w 1108632"/>
                <a:gd name="connsiteY7" fmla="*/ 1154832 h 1326408"/>
                <a:gd name="connsiteX8" fmla="*/ 2993 w 1108632"/>
                <a:gd name="connsiteY8" fmla="*/ 173368 h 1326408"/>
                <a:gd name="connsiteX0" fmla="*/ 2993 w 1108632"/>
                <a:gd name="connsiteY0" fmla="*/ 169971 h 1323011"/>
                <a:gd name="connsiteX1" fmla="*/ 160282 w 1108632"/>
                <a:gd name="connsiteY1" fmla="*/ 7920 h 1323011"/>
                <a:gd name="connsiteX2" fmla="*/ 960867 w 1108632"/>
                <a:gd name="connsiteY2" fmla="*/ 17444 h 1323011"/>
                <a:gd name="connsiteX3" fmla="*/ 1108632 w 1108632"/>
                <a:gd name="connsiteY3" fmla="*/ 184259 h 1323011"/>
                <a:gd name="connsiteX4" fmla="*/ 1103869 w 1108632"/>
                <a:gd name="connsiteY4" fmla="*/ 1127622 h 1323011"/>
                <a:gd name="connsiteX5" fmla="*/ 970393 w 1108632"/>
                <a:gd name="connsiteY5" fmla="*/ 1294436 h 1323011"/>
                <a:gd name="connsiteX6" fmla="*/ 155519 w 1108632"/>
                <a:gd name="connsiteY6" fmla="*/ 1323011 h 1323011"/>
                <a:gd name="connsiteX7" fmla="*/ 7755 w 1108632"/>
                <a:gd name="connsiteY7" fmla="*/ 1151435 h 1323011"/>
                <a:gd name="connsiteX8" fmla="*/ 2993 w 1108632"/>
                <a:gd name="connsiteY8" fmla="*/ 169971 h 1323011"/>
                <a:gd name="connsiteX0" fmla="*/ 2993 w 1108632"/>
                <a:gd name="connsiteY0" fmla="*/ 169971 h 1323011"/>
                <a:gd name="connsiteX1" fmla="*/ 160282 w 1108632"/>
                <a:gd name="connsiteY1" fmla="*/ 7920 h 1323011"/>
                <a:gd name="connsiteX2" fmla="*/ 960867 w 1108632"/>
                <a:gd name="connsiteY2" fmla="*/ 17444 h 1323011"/>
                <a:gd name="connsiteX3" fmla="*/ 1108632 w 1108632"/>
                <a:gd name="connsiteY3" fmla="*/ 184259 h 1323011"/>
                <a:gd name="connsiteX4" fmla="*/ 1103869 w 1108632"/>
                <a:gd name="connsiteY4" fmla="*/ 1127622 h 1323011"/>
                <a:gd name="connsiteX5" fmla="*/ 970393 w 1108632"/>
                <a:gd name="connsiteY5" fmla="*/ 1294436 h 1323011"/>
                <a:gd name="connsiteX6" fmla="*/ 155519 w 1108632"/>
                <a:gd name="connsiteY6" fmla="*/ 1323011 h 1323011"/>
                <a:gd name="connsiteX7" fmla="*/ 7755 w 1108632"/>
                <a:gd name="connsiteY7" fmla="*/ 1151435 h 1323011"/>
                <a:gd name="connsiteX8" fmla="*/ 2993 w 1108632"/>
                <a:gd name="connsiteY8" fmla="*/ 169971 h 1323011"/>
                <a:gd name="connsiteX0" fmla="*/ 2993 w 1108632"/>
                <a:gd name="connsiteY0" fmla="*/ 169971 h 1323011"/>
                <a:gd name="connsiteX1" fmla="*/ 160282 w 1108632"/>
                <a:gd name="connsiteY1" fmla="*/ 7920 h 1323011"/>
                <a:gd name="connsiteX2" fmla="*/ 960867 w 1108632"/>
                <a:gd name="connsiteY2" fmla="*/ 17444 h 1323011"/>
                <a:gd name="connsiteX3" fmla="*/ 1108632 w 1108632"/>
                <a:gd name="connsiteY3" fmla="*/ 250934 h 1323011"/>
                <a:gd name="connsiteX4" fmla="*/ 1103869 w 1108632"/>
                <a:gd name="connsiteY4" fmla="*/ 1127622 h 1323011"/>
                <a:gd name="connsiteX5" fmla="*/ 970393 w 1108632"/>
                <a:gd name="connsiteY5" fmla="*/ 1294436 h 1323011"/>
                <a:gd name="connsiteX6" fmla="*/ 155519 w 1108632"/>
                <a:gd name="connsiteY6" fmla="*/ 1323011 h 1323011"/>
                <a:gd name="connsiteX7" fmla="*/ 7755 w 1108632"/>
                <a:gd name="connsiteY7" fmla="*/ 1151435 h 1323011"/>
                <a:gd name="connsiteX8" fmla="*/ 2993 w 1108632"/>
                <a:gd name="connsiteY8" fmla="*/ 169971 h 1323011"/>
                <a:gd name="connsiteX0" fmla="*/ 2993 w 1109965"/>
                <a:gd name="connsiteY0" fmla="*/ 169971 h 1323011"/>
                <a:gd name="connsiteX1" fmla="*/ 160282 w 1109965"/>
                <a:gd name="connsiteY1" fmla="*/ 7920 h 1323011"/>
                <a:gd name="connsiteX2" fmla="*/ 960867 w 1109965"/>
                <a:gd name="connsiteY2" fmla="*/ 17444 h 1323011"/>
                <a:gd name="connsiteX3" fmla="*/ 1108632 w 1109965"/>
                <a:gd name="connsiteY3" fmla="*/ 250934 h 1323011"/>
                <a:gd name="connsiteX4" fmla="*/ 1103869 w 1109965"/>
                <a:gd name="connsiteY4" fmla="*/ 1127622 h 1323011"/>
                <a:gd name="connsiteX5" fmla="*/ 970393 w 1109965"/>
                <a:gd name="connsiteY5" fmla="*/ 1294436 h 1323011"/>
                <a:gd name="connsiteX6" fmla="*/ 155519 w 1109965"/>
                <a:gd name="connsiteY6" fmla="*/ 1323011 h 1323011"/>
                <a:gd name="connsiteX7" fmla="*/ 7755 w 1109965"/>
                <a:gd name="connsiteY7" fmla="*/ 1151435 h 1323011"/>
                <a:gd name="connsiteX8" fmla="*/ 2993 w 1109965"/>
                <a:gd name="connsiteY8" fmla="*/ 169971 h 1323011"/>
                <a:gd name="connsiteX0" fmla="*/ 2993 w 1110604"/>
                <a:gd name="connsiteY0" fmla="*/ 169971 h 1323011"/>
                <a:gd name="connsiteX1" fmla="*/ 160282 w 1110604"/>
                <a:gd name="connsiteY1" fmla="*/ 7920 h 1323011"/>
                <a:gd name="connsiteX2" fmla="*/ 960867 w 1110604"/>
                <a:gd name="connsiteY2" fmla="*/ 17444 h 1323011"/>
                <a:gd name="connsiteX3" fmla="*/ 1108632 w 1110604"/>
                <a:gd name="connsiteY3" fmla="*/ 250934 h 1323011"/>
                <a:gd name="connsiteX4" fmla="*/ 1103869 w 1110604"/>
                <a:gd name="connsiteY4" fmla="*/ 1127622 h 1323011"/>
                <a:gd name="connsiteX5" fmla="*/ 970393 w 1110604"/>
                <a:gd name="connsiteY5" fmla="*/ 1294436 h 1323011"/>
                <a:gd name="connsiteX6" fmla="*/ 155519 w 1110604"/>
                <a:gd name="connsiteY6" fmla="*/ 1323011 h 1323011"/>
                <a:gd name="connsiteX7" fmla="*/ 7755 w 1110604"/>
                <a:gd name="connsiteY7" fmla="*/ 1151435 h 1323011"/>
                <a:gd name="connsiteX8" fmla="*/ 2993 w 1110604"/>
                <a:gd name="connsiteY8" fmla="*/ 169971 h 1323011"/>
                <a:gd name="connsiteX0" fmla="*/ 2993 w 1110604"/>
                <a:gd name="connsiteY0" fmla="*/ 169971 h 1323011"/>
                <a:gd name="connsiteX1" fmla="*/ 160282 w 1110604"/>
                <a:gd name="connsiteY1" fmla="*/ 7920 h 1323011"/>
                <a:gd name="connsiteX2" fmla="*/ 960867 w 1110604"/>
                <a:gd name="connsiteY2" fmla="*/ 17444 h 1323011"/>
                <a:gd name="connsiteX3" fmla="*/ 1108632 w 1110604"/>
                <a:gd name="connsiteY3" fmla="*/ 250934 h 1323011"/>
                <a:gd name="connsiteX4" fmla="*/ 1103869 w 1110604"/>
                <a:gd name="connsiteY4" fmla="*/ 1127622 h 1323011"/>
                <a:gd name="connsiteX5" fmla="*/ 970393 w 1110604"/>
                <a:gd name="connsiteY5" fmla="*/ 1294436 h 1323011"/>
                <a:gd name="connsiteX6" fmla="*/ 155519 w 1110604"/>
                <a:gd name="connsiteY6" fmla="*/ 1323011 h 1323011"/>
                <a:gd name="connsiteX7" fmla="*/ 7755 w 1110604"/>
                <a:gd name="connsiteY7" fmla="*/ 1089522 h 1323011"/>
                <a:gd name="connsiteX8" fmla="*/ 2993 w 1110604"/>
                <a:gd name="connsiteY8" fmla="*/ 169971 h 1323011"/>
                <a:gd name="connsiteX0" fmla="*/ 2993 w 1110604"/>
                <a:gd name="connsiteY0" fmla="*/ 169971 h 1323011"/>
                <a:gd name="connsiteX1" fmla="*/ 160282 w 1110604"/>
                <a:gd name="connsiteY1" fmla="*/ 7920 h 1323011"/>
                <a:gd name="connsiteX2" fmla="*/ 960867 w 1110604"/>
                <a:gd name="connsiteY2" fmla="*/ 17444 h 1323011"/>
                <a:gd name="connsiteX3" fmla="*/ 1108632 w 1110604"/>
                <a:gd name="connsiteY3" fmla="*/ 250934 h 1323011"/>
                <a:gd name="connsiteX4" fmla="*/ 1103869 w 1110604"/>
                <a:gd name="connsiteY4" fmla="*/ 1127622 h 1323011"/>
                <a:gd name="connsiteX5" fmla="*/ 970393 w 1110604"/>
                <a:gd name="connsiteY5" fmla="*/ 1294436 h 1323011"/>
                <a:gd name="connsiteX6" fmla="*/ 222194 w 1110604"/>
                <a:gd name="connsiteY6" fmla="*/ 1323011 h 1323011"/>
                <a:gd name="connsiteX7" fmla="*/ 7755 w 1110604"/>
                <a:gd name="connsiteY7" fmla="*/ 1089522 h 1323011"/>
                <a:gd name="connsiteX8" fmla="*/ 2993 w 1110604"/>
                <a:gd name="connsiteY8" fmla="*/ 169971 h 1323011"/>
                <a:gd name="connsiteX0" fmla="*/ 2993 w 1110604"/>
                <a:gd name="connsiteY0" fmla="*/ 169971 h 1323471"/>
                <a:gd name="connsiteX1" fmla="*/ 160282 w 1110604"/>
                <a:gd name="connsiteY1" fmla="*/ 7920 h 1323471"/>
                <a:gd name="connsiteX2" fmla="*/ 960867 w 1110604"/>
                <a:gd name="connsiteY2" fmla="*/ 17444 h 1323471"/>
                <a:gd name="connsiteX3" fmla="*/ 1108632 w 1110604"/>
                <a:gd name="connsiteY3" fmla="*/ 250934 h 1323471"/>
                <a:gd name="connsiteX4" fmla="*/ 1103869 w 1110604"/>
                <a:gd name="connsiteY4" fmla="*/ 1127622 h 1323471"/>
                <a:gd name="connsiteX5" fmla="*/ 970393 w 1110604"/>
                <a:gd name="connsiteY5" fmla="*/ 1294436 h 1323471"/>
                <a:gd name="connsiteX6" fmla="*/ 222194 w 1110604"/>
                <a:gd name="connsiteY6" fmla="*/ 1323011 h 1323471"/>
                <a:gd name="connsiteX7" fmla="*/ 7755 w 1110604"/>
                <a:gd name="connsiteY7" fmla="*/ 1089522 h 1323471"/>
                <a:gd name="connsiteX8" fmla="*/ 2993 w 1110604"/>
                <a:gd name="connsiteY8" fmla="*/ 169971 h 1323471"/>
                <a:gd name="connsiteX0" fmla="*/ 2993 w 1110604"/>
                <a:gd name="connsiteY0" fmla="*/ 169971 h 1324619"/>
                <a:gd name="connsiteX1" fmla="*/ 160282 w 1110604"/>
                <a:gd name="connsiteY1" fmla="*/ 7920 h 1324619"/>
                <a:gd name="connsiteX2" fmla="*/ 960867 w 1110604"/>
                <a:gd name="connsiteY2" fmla="*/ 17444 h 1324619"/>
                <a:gd name="connsiteX3" fmla="*/ 1108632 w 1110604"/>
                <a:gd name="connsiteY3" fmla="*/ 250934 h 1324619"/>
                <a:gd name="connsiteX4" fmla="*/ 1103869 w 1110604"/>
                <a:gd name="connsiteY4" fmla="*/ 1127622 h 1324619"/>
                <a:gd name="connsiteX5" fmla="*/ 970393 w 1110604"/>
                <a:gd name="connsiteY5" fmla="*/ 1294436 h 1324619"/>
                <a:gd name="connsiteX6" fmla="*/ 222194 w 1110604"/>
                <a:gd name="connsiteY6" fmla="*/ 1323011 h 1324619"/>
                <a:gd name="connsiteX7" fmla="*/ 7755 w 1110604"/>
                <a:gd name="connsiteY7" fmla="*/ 1089522 h 1324619"/>
                <a:gd name="connsiteX8" fmla="*/ 2993 w 1110604"/>
                <a:gd name="connsiteY8" fmla="*/ 169971 h 1324619"/>
                <a:gd name="connsiteX0" fmla="*/ 2993 w 1110604"/>
                <a:gd name="connsiteY0" fmla="*/ 169971 h 1324619"/>
                <a:gd name="connsiteX1" fmla="*/ 160282 w 1110604"/>
                <a:gd name="connsiteY1" fmla="*/ 7920 h 1324619"/>
                <a:gd name="connsiteX2" fmla="*/ 960867 w 1110604"/>
                <a:gd name="connsiteY2" fmla="*/ 17444 h 1324619"/>
                <a:gd name="connsiteX3" fmla="*/ 1108632 w 1110604"/>
                <a:gd name="connsiteY3" fmla="*/ 250934 h 1324619"/>
                <a:gd name="connsiteX4" fmla="*/ 1103869 w 1110604"/>
                <a:gd name="connsiteY4" fmla="*/ 1127622 h 1324619"/>
                <a:gd name="connsiteX5" fmla="*/ 970393 w 1110604"/>
                <a:gd name="connsiteY5" fmla="*/ 1294436 h 1324619"/>
                <a:gd name="connsiteX6" fmla="*/ 222194 w 1110604"/>
                <a:gd name="connsiteY6" fmla="*/ 1323011 h 1324619"/>
                <a:gd name="connsiteX7" fmla="*/ 7755 w 1110604"/>
                <a:gd name="connsiteY7" fmla="*/ 1089522 h 1324619"/>
                <a:gd name="connsiteX8" fmla="*/ 2993 w 1110604"/>
                <a:gd name="connsiteY8" fmla="*/ 169971 h 1324619"/>
                <a:gd name="connsiteX0" fmla="*/ 2993 w 1110604"/>
                <a:gd name="connsiteY0" fmla="*/ 168534 h 1323182"/>
                <a:gd name="connsiteX1" fmla="*/ 160282 w 1110604"/>
                <a:gd name="connsiteY1" fmla="*/ 6483 h 1323182"/>
                <a:gd name="connsiteX2" fmla="*/ 960867 w 1110604"/>
                <a:gd name="connsiteY2" fmla="*/ 16007 h 1323182"/>
                <a:gd name="connsiteX3" fmla="*/ 1108632 w 1110604"/>
                <a:gd name="connsiteY3" fmla="*/ 249497 h 1323182"/>
                <a:gd name="connsiteX4" fmla="*/ 1103869 w 1110604"/>
                <a:gd name="connsiteY4" fmla="*/ 1126185 h 1323182"/>
                <a:gd name="connsiteX5" fmla="*/ 970393 w 1110604"/>
                <a:gd name="connsiteY5" fmla="*/ 1292999 h 1323182"/>
                <a:gd name="connsiteX6" fmla="*/ 222194 w 1110604"/>
                <a:gd name="connsiteY6" fmla="*/ 1321574 h 1323182"/>
                <a:gd name="connsiteX7" fmla="*/ 7755 w 1110604"/>
                <a:gd name="connsiteY7" fmla="*/ 1088085 h 1323182"/>
                <a:gd name="connsiteX8" fmla="*/ 2993 w 1110604"/>
                <a:gd name="connsiteY8" fmla="*/ 168534 h 1323182"/>
                <a:gd name="connsiteX0" fmla="*/ 2993 w 1110604"/>
                <a:gd name="connsiteY0" fmla="*/ 171942 h 1326590"/>
                <a:gd name="connsiteX1" fmla="*/ 155519 w 1110604"/>
                <a:gd name="connsiteY1" fmla="*/ 5128 h 1326590"/>
                <a:gd name="connsiteX2" fmla="*/ 960867 w 1110604"/>
                <a:gd name="connsiteY2" fmla="*/ 19415 h 1326590"/>
                <a:gd name="connsiteX3" fmla="*/ 1108632 w 1110604"/>
                <a:gd name="connsiteY3" fmla="*/ 252905 h 1326590"/>
                <a:gd name="connsiteX4" fmla="*/ 1103869 w 1110604"/>
                <a:gd name="connsiteY4" fmla="*/ 1129593 h 1326590"/>
                <a:gd name="connsiteX5" fmla="*/ 970393 w 1110604"/>
                <a:gd name="connsiteY5" fmla="*/ 1296407 h 1326590"/>
                <a:gd name="connsiteX6" fmla="*/ 222194 w 1110604"/>
                <a:gd name="connsiteY6" fmla="*/ 1324982 h 1326590"/>
                <a:gd name="connsiteX7" fmla="*/ 7755 w 1110604"/>
                <a:gd name="connsiteY7" fmla="*/ 1091493 h 1326590"/>
                <a:gd name="connsiteX8" fmla="*/ 2993 w 1110604"/>
                <a:gd name="connsiteY8" fmla="*/ 171942 h 1326590"/>
                <a:gd name="connsiteX0" fmla="*/ 2993 w 1110604"/>
                <a:gd name="connsiteY0" fmla="*/ 169833 h 1324481"/>
                <a:gd name="connsiteX1" fmla="*/ 155519 w 1110604"/>
                <a:gd name="connsiteY1" fmla="*/ 3019 h 1324481"/>
                <a:gd name="connsiteX2" fmla="*/ 960867 w 1110604"/>
                <a:gd name="connsiteY2" fmla="*/ 17306 h 1324481"/>
                <a:gd name="connsiteX3" fmla="*/ 1108632 w 1110604"/>
                <a:gd name="connsiteY3" fmla="*/ 250796 h 1324481"/>
                <a:gd name="connsiteX4" fmla="*/ 1103869 w 1110604"/>
                <a:gd name="connsiteY4" fmla="*/ 1127484 h 1324481"/>
                <a:gd name="connsiteX5" fmla="*/ 970393 w 1110604"/>
                <a:gd name="connsiteY5" fmla="*/ 1294298 h 1324481"/>
                <a:gd name="connsiteX6" fmla="*/ 222194 w 1110604"/>
                <a:gd name="connsiteY6" fmla="*/ 1322873 h 1324481"/>
                <a:gd name="connsiteX7" fmla="*/ 7755 w 1110604"/>
                <a:gd name="connsiteY7" fmla="*/ 1089384 h 1324481"/>
                <a:gd name="connsiteX8" fmla="*/ 2993 w 1110604"/>
                <a:gd name="connsiteY8" fmla="*/ 169833 h 1324481"/>
                <a:gd name="connsiteX0" fmla="*/ 7014 w 1114625"/>
                <a:gd name="connsiteY0" fmla="*/ 169833 h 1324481"/>
                <a:gd name="connsiteX1" fmla="*/ 159540 w 1114625"/>
                <a:gd name="connsiteY1" fmla="*/ 3019 h 1324481"/>
                <a:gd name="connsiteX2" fmla="*/ 964888 w 1114625"/>
                <a:gd name="connsiteY2" fmla="*/ 17306 h 1324481"/>
                <a:gd name="connsiteX3" fmla="*/ 1112653 w 1114625"/>
                <a:gd name="connsiteY3" fmla="*/ 250796 h 1324481"/>
                <a:gd name="connsiteX4" fmla="*/ 1107890 w 1114625"/>
                <a:gd name="connsiteY4" fmla="*/ 1127484 h 1324481"/>
                <a:gd name="connsiteX5" fmla="*/ 974414 w 1114625"/>
                <a:gd name="connsiteY5" fmla="*/ 1294298 h 1324481"/>
                <a:gd name="connsiteX6" fmla="*/ 226215 w 1114625"/>
                <a:gd name="connsiteY6" fmla="*/ 1322873 h 1324481"/>
                <a:gd name="connsiteX7" fmla="*/ 11776 w 1114625"/>
                <a:gd name="connsiteY7" fmla="*/ 1089384 h 1324481"/>
                <a:gd name="connsiteX8" fmla="*/ 7014 w 1114625"/>
                <a:gd name="connsiteY8" fmla="*/ 169833 h 1324481"/>
                <a:gd name="connsiteX0" fmla="*/ 7014 w 1114625"/>
                <a:gd name="connsiteY0" fmla="*/ 169833 h 1324481"/>
                <a:gd name="connsiteX1" fmla="*/ 159540 w 1114625"/>
                <a:gd name="connsiteY1" fmla="*/ 3019 h 1324481"/>
                <a:gd name="connsiteX2" fmla="*/ 964888 w 1114625"/>
                <a:gd name="connsiteY2" fmla="*/ 17306 h 1324481"/>
                <a:gd name="connsiteX3" fmla="*/ 1112653 w 1114625"/>
                <a:gd name="connsiteY3" fmla="*/ 250796 h 1324481"/>
                <a:gd name="connsiteX4" fmla="*/ 1107890 w 1114625"/>
                <a:gd name="connsiteY4" fmla="*/ 1127484 h 1324481"/>
                <a:gd name="connsiteX5" fmla="*/ 974414 w 1114625"/>
                <a:gd name="connsiteY5" fmla="*/ 1294298 h 1324481"/>
                <a:gd name="connsiteX6" fmla="*/ 226215 w 1114625"/>
                <a:gd name="connsiteY6" fmla="*/ 1322873 h 1324481"/>
                <a:gd name="connsiteX7" fmla="*/ 11776 w 1114625"/>
                <a:gd name="connsiteY7" fmla="*/ 1089384 h 1324481"/>
                <a:gd name="connsiteX8" fmla="*/ 7014 w 1114625"/>
                <a:gd name="connsiteY8" fmla="*/ 169833 h 1324481"/>
                <a:gd name="connsiteX0" fmla="*/ 7014 w 1114625"/>
                <a:gd name="connsiteY0" fmla="*/ 169833 h 1324481"/>
                <a:gd name="connsiteX1" fmla="*/ 159540 w 1114625"/>
                <a:gd name="connsiteY1" fmla="*/ 3019 h 1324481"/>
                <a:gd name="connsiteX2" fmla="*/ 964888 w 1114625"/>
                <a:gd name="connsiteY2" fmla="*/ 17306 h 1324481"/>
                <a:gd name="connsiteX3" fmla="*/ 1112653 w 1114625"/>
                <a:gd name="connsiteY3" fmla="*/ 250796 h 1324481"/>
                <a:gd name="connsiteX4" fmla="*/ 1107890 w 1114625"/>
                <a:gd name="connsiteY4" fmla="*/ 1127484 h 1324481"/>
                <a:gd name="connsiteX5" fmla="*/ 974414 w 1114625"/>
                <a:gd name="connsiteY5" fmla="*/ 1294298 h 1324481"/>
                <a:gd name="connsiteX6" fmla="*/ 226215 w 1114625"/>
                <a:gd name="connsiteY6" fmla="*/ 1322873 h 1324481"/>
                <a:gd name="connsiteX7" fmla="*/ 11776 w 1114625"/>
                <a:gd name="connsiteY7" fmla="*/ 1089384 h 1324481"/>
                <a:gd name="connsiteX8" fmla="*/ 7014 w 1114625"/>
                <a:gd name="connsiteY8" fmla="*/ 169833 h 1324481"/>
                <a:gd name="connsiteX0" fmla="*/ 7014 w 1114625"/>
                <a:gd name="connsiteY0" fmla="*/ 169833 h 1324481"/>
                <a:gd name="connsiteX1" fmla="*/ 159540 w 1114625"/>
                <a:gd name="connsiteY1" fmla="*/ 3019 h 1324481"/>
                <a:gd name="connsiteX2" fmla="*/ 964888 w 1114625"/>
                <a:gd name="connsiteY2" fmla="*/ 17306 h 1324481"/>
                <a:gd name="connsiteX3" fmla="*/ 1112653 w 1114625"/>
                <a:gd name="connsiteY3" fmla="*/ 250796 h 1324481"/>
                <a:gd name="connsiteX4" fmla="*/ 1107890 w 1114625"/>
                <a:gd name="connsiteY4" fmla="*/ 1127484 h 1324481"/>
                <a:gd name="connsiteX5" fmla="*/ 974414 w 1114625"/>
                <a:gd name="connsiteY5" fmla="*/ 1294298 h 1324481"/>
                <a:gd name="connsiteX6" fmla="*/ 226215 w 1114625"/>
                <a:gd name="connsiteY6" fmla="*/ 1322873 h 1324481"/>
                <a:gd name="connsiteX7" fmla="*/ 11776 w 1114625"/>
                <a:gd name="connsiteY7" fmla="*/ 1089384 h 1324481"/>
                <a:gd name="connsiteX8" fmla="*/ 7014 w 1114625"/>
                <a:gd name="connsiteY8" fmla="*/ 169833 h 1324481"/>
                <a:gd name="connsiteX0" fmla="*/ 7014 w 1114625"/>
                <a:gd name="connsiteY0" fmla="*/ 169833 h 1304047"/>
                <a:gd name="connsiteX1" fmla="*/ 159540 w 1114625"/>
                <a:gd name="connsiteY1" fmla="*/ 3019 h 1304047"/>
                <a:gd name="connsiteX2" fmla="*/ 964888 w 1114625"/>
                <a:gd name="connsiteY2" fmla="*/ 17306 h 1304047"/>
                <a:gd name="connsiteX3" fmla="*/ 1112653 w 1114625"/>
                <a:gd name="connsiteY3" fmla="*/ 250796 h 1304047"/>
                <a:gd name="connsiteX4" fmla="*/ 1107890 w 1114625"/>
                <a:gd name="connsiteY4" fmla="*/ 1127484 h 1304047"/>
                <a:gd name="connsiteX5" fmla="*/ 974414 w 1114625"/>
                <a:gd name="connsiteY5" fmla="*/ 1294298 h 1304047"/>
                <a:gd name="connsiteX6" fmla="*/ 202403 w 1114625"/>
                <a:gd name="connsiteY6" fmla="*/ 1275248 h 1304047"/>
                <a:gd name="connsiteX7" fmla="*/ 11776 w 1114625"/>
                <a:gd name="connsiteY7" fmla="*/ 1089384 h 1304047"/>
                <a:gd name="connsiteX8" fmla="*/ 7014 w 1114625"/>
                <a:gd name="connsiteY8" fmla="*/ 169833 h 1304047"/>
                <a:gd name="connsiteX0" fmla="*/ 7014 w 1114625"/>
                <a:gd name="connsiteY0" fmla="*/ 169833 h 1278847"/>
                <a:gd name="connsiteX1" fmla="*/ 159540 w 1114625"/>
                <a:gd name="connsiteY1" fmla="*/ 3019 h 1278847"/>
                <a:gd name="connsiteX2" fmla="*/ 964888 w 1114625"/>
                <a:gd name="connsiteY2" fmla="*/ 17306 h 1278847"/>
                <a:gd name="connsiteX3" fmla="*/ 1112653 w 1114625"/>
                <a:gd name="connsiteY3" fmla="*/ 250796 h 1278847"/>
                <a:gd name="connsiteX4" fmla="*/ 1107890 w 1114625"/>
                <a:gd name="connsiteY4" fmla="*/ 1127484 h 1278847"/>
                <a:gd name="connsiteX5" fmla="*/ 974414 w 1114625"/>
                <a:gd name="connsiteY5" fmla="*/ 1256198 h 1278847"/>
                <a:gd name="connsiteX6" fmla="*/ 202403 w 1114625"/>
                <a:gd name="connsiteY6" fmla="*/ 1275248 h 1278847"/>
                <a:gd name="connsiteX7" fmla="*/ 11776 w 1114625"/>
                <a:gd name="connsiteY7" fmla="*/ 1089384 h 1278847"/>
                <a:gd name="connsiteX8" fmla="*/ 7014 w 1114625"/>
                <a:gd name="connsiteY8" fmla="*/ 169833 h 1278847"/>
                <a:gd name="connsiteX0" fmla="*/ 7014 w 1114625"/>
                <a:gd name="connsiteY0" fmla="*/ 169833 h 1278847"/>
                <a:gd name="connsiteX1" fmla="*/ 159540 w 1114625"/>
                <a:gd name="connsiteY1" fmla="*/ 3019 h 1278847"/>
                <a:gd name="connsiteX2" fmla="*/ 964888 w 1114625"/>
                <a:gd name="connsiteY2" fmla="*/ 17306 h 1278847"/>
                <a:gd name="connsiteX3" fmla="*/ 1112653 w 1114625"/>
                <a:gd name="connsiteY3" fmla="*/ 250796 h 1278847"/>
                <a:gd name="connsiteX4" fmla="*/ 1107890 w 1114625"/>
                <a:gd name="connsiteY4" fmla="*/ 1094146 h 1278847"/>
                <a:gd name="connsiteX5" fmla="*/ 974414 w 1114625"/>
                <a:gd name="connsiteY5" fmla="*/ 1256198 h 1278847"/>
                <a:gd name="connsiteX6" fmla="*/ 202403 w 1114625"/>
                <a:gd name="connsiteY6" fmla="*/ 1275248 h 1278847"/>
                <a:gd name="connsiteX7" fmla="*/ 11776 w 1114625"/>
                <a:gd name="connsiteY7" fmla="*/ 1089384 h 1278847"/>
                <a:gd name="connsiteX8" fmla="*/ 7014 w 1114625"/>
                <a:gd name="connsiteY8" fmla="*/ 169833 h 1278847"/>
                <a:gd name="connsiteX0" fmla="*/ 7014 w 1119387"/>
                <a:gd name="connsiteY0" fmla="*/ 169833 h 1278847"/>
                <a:gd name="connsiteX1" fmla="*/ 159540 w 1119387"/>
                <a:gd name="connsiteY1" fmla="*/ 3019 h 1278847"/>
                <a:gd name="connsiteX2" fmla="*/ 964888 w 1119387"/>
                <a:gd name="connsiteY2" fmla="*/ 17306 h 1278847"/>
                <a:gd name="connsiteX3" fmla="*/ 1112653 w 1119387"/>
                <a:gd name="connsiteY3" fmla="*/ 250796 h 1278847"/>
                <a:gd name="connsiteX4" fmla="*/ 1117415 w 1119387"/>
                <a:gd name="connsiteY4" fmla="*/ 1075096 h 1278847"/>
                <a:gd name="connsiteX5" fmla="*/ 974414 w 1119387"/>
                <a:gd name="connsiteY5" fmla="*/ 1256198 h 1278847"/>
                <a:gd name="connsiteX6" fmla="*/ 202403 w 1119387"/>
                <a:gd name="connsiteY6" fmla="*/ 1275248 h 1278847"/>
                <a:gd name="connsiteX7" fmla="*/ 11776 w 1119387"/>
                <a:gd name="connsiteY7" fmla="*/ 1089384 h 1278847"/>
                <a:gd name="connsiteX8" fmla="*/ 7014 w 1119387"/>
                <a:gd name="connsiteY8" fmla="*/ 169833 h 1278847"/>
                <a:gd name="connsiteX0" fmla="*/ 7014 w 1119387"/>
                <a:gd name="connsiteY0" fmla="*/ 169833 h 1278847"/>
                <a:gd name="connsiteX1" fmla="*/ 159540 w 1119387"/>
                <a:gd name="connsiteY1" fmla="*/ 3019 h 1278847"/>
                <a:gd name="connsiteX2" fmla="*/ 964888 w 1119387"/>
                <a:gd name="connsiteY2" fmla="*/ 17306 h 1278847"/>
                <a:gd name="connsiteX3" fmla="*/ 1112653 w 1119387"/>
                <a:gd name="connsiteY3" fmla="*/ 250796 h 1278847"/>
                <a:gd name="connsiteX4" fmla="*/ 1117415 w 1119387"/>
                <a:gd name="connsiteY4" fmla="*/ 1075096 h 1278847"/>
                <a:gd name="connsiteX5" fmla="*/ 974414 w 1119387"/>
                <a:gd name="connsiteY5" fmla="*/ 1256198 h 1278847"/>
                <a:gd name="connsiteX6" fmla="*/ 202403 w 1119387"/>
                <a:gd name="connsiteY6" fmla="*/ 1275248 h 1278847"/>
                <a:gd name="connsiteX7" fmla="*/ 11776 w 1119387"/>
                <a:gd name="connsiteY7" fmla="*/ 1089384 h 1278847"/>
                <a:gd name="connsiteX8" fmla="*/ 7014 w 1119387"/>
                <a:gd name="connsiteY8" fmla="*/ 169833 h 1278847"/>
                <a:gd name="connsiteX0" fmla="*/ 7014 w 1119387"/>
                <a:gd name="connsiteY0" fmla="*/ 183415 h 1292429"/>
                <a:gd name="connsiteX1" fmla="*/ 159540 w 1119387"/>
                <a:gd name="connsiteY1" fmla="*/ 16601 h 1292429"/>
                <a:gd name="connsiteX2" fmla="*/ 806996 w 1119387"/>
                <a:gd name="connsiteY2" fmla="*/ 6805 h 1292429"/>
                <a:gd name="connsiteX3" fmla="*/ 1112653 w 1119387"/>
                <a:gd name="connsiteY3" fmla="*/ 264378 h 1292429"/>
                <a:gd name="connsiteX4" fmla="*/ 1117415 w 1119387"/>
                <a:gd name="connsiteY4" fmla="*/ 1088678 h 1292429"/>
                <a:gd name="connsiteX5" fmla="*/ 974414 w 1119387"/>
                <a:gd name="connsiteY5" fmla="*/ 1269780 h 1292429"/>
                <a:gd name="connsiteX6" fmla="*/ 202403 w 1119387"/>
                <a:gd name="connsiteY6" fmla="*/ 1288830 h 1292429"/>
                <a:gd name="connsiteX7" fmla="*/ 11776 w 1119387"/>
                <a:gd name="connsiteY7" fmla="*/ 1102966 h 1292429"/>
                <a:gd name="connsiteX8" fmla="*/ 7014 w 1119387"/>
                <a:gd name="connsiteY8" fmla="*/ 183415 h 1292429"/>
                <a:gd name="connsiteX0" fmla="*/ 7014 w 1119387"/>
                <a:gd name="connsiteY0" fmla="*/ 183416 h 1292430"/>
                <a:gd name="connsiteX1" fmla="*/ 159540 w 1119387"/>
                <a:gd name="connsiteY1" fmla="*/ 16602 h 1292430"/>
                <a:gd name="connsiteX2" fmla="*/ 806996 w 1119387"/>
                <a:gd name="connsiteY2" fmla="*/ 6806 h 1292430"/>
                <a:gd name="connsiteX3" fmla="*/ 1112653 w 1119387"/>
                <a:gd name="connsiteY3" fmla="*/ 264379 h 1292430"/>
                <a:gd name="connsiteX4" fmla="*/ 1117415 w 1119387"/>
                <a:gd name="connsiteY4" fmla="*/ 1088679 h 1292430"/>
                <a:gd name="connsiteX5" fmla="*/ 974414 w 1119387"/>
                <a:gd name="connsiteY5" fmla="*/ 1269781 h 1292430"/>
                <a:gd name="connsiteX6" fmla="*/ 202403 w 1119387"/>
                <a:gd name="connsiteY6" fmla="*/ 1288831 h 1292430"/>
                <a:gd name="connsiteX7" fmla="*/ 11776 w 1119387"/>
                <a:gd name="connsiteY7" fmla="*/ 1102967 h 1292430"/>
                <a:gd name="connsiteX8" fmla="*/ 7014 w 1119387"/>
                <a:gd name="connsiteY8" fmla="*/ 183416 h 1292430"/>
                <a:gd name="connsiteX0" fmla="*/ 7014 w 1119387"/>
                <a:gd name="connsiteY0" fmla="*/ 183416 h 1292430"/>
                <a:gd name="connsiteX1" fmla="*/ 159540 w 1119387"/>
                <a:gd name="connsiteY1" fmla="*/ 16602 h 1292430"/>
                <a:gd name="connsiteX2" fmla="*/ 806996 w 1119387"/>
                <a:gd name="connsiteY2" fmla="*/ 6806 h 1292430"/>
                <a:gd name="connsiteX3" fmla="*/ 1112653 w 1119387"/>
                <a:gd name="connsiteY3" fmla="*/ 264379 h 1292430"/>
                <a:gd name="connsiteX4" fmla="*/ 1117415 w 1119387"/>
                <a:gd name="connsiteY4" fmla="*/ 1088679 h 1292430"/>
                <a:gd name="connsiteX5" fmla="*/ 974414 w 1119387"/>
                <a:gd name="connsiteY5" fmla="*/ 1269781 h 1292430"/>
                <a:gd name="connsiteX6" fmla="*/ 202403 w 1119387"/>
                <a:gd name="connsiteY6" fmla="*/ 1288831 h 1292430"/>
                <a:gd name="connsiteX7" fmla="*/ 11776 w 1119387"/>
                <a:gd name="connsiteY7" fmla="*/ 1102967 h 1292430"/>
                <a:gd name="connsiteX8" fmla="*/ 7014 w 1119387"/>
                <a:gd name="connsiteY8" fmla="*/ 183416 h 1292430"/>
                <a:gd name="connsiteX0" fmla="*/ 7014 w 1119387"/>
                <a:gd name="connsiteY0" fmla="*/ 183416 h 1292430"/>
                <a:gd name="connsiteX1" fmla="*/ 159540 w 1119387"/>
                <a:gd name="connsiteY1" fmla="*/ 16602 h 1292430"/>
                <a:gd name="connsiteX2" fmla="*/ 806996 w 1119387"/>
                <a:gd name="connsiteY2" fmla="*/ 6806 h 1292430"/>
                <a:gd name="connsiteX3" fmla="*/ 1112653 w 1119387"/>
                <a:gd name="connsiteY3" fmla="*/ 264379 h 1292430"/>
                <a:gd name="connsiteX4" fmla="*/ 1117415 w 1119387"/>
                <a:gd name="connsiteY4" fmla="*/ 1088679 h 1292430"/>
                <a:gd name="connsiteX5" fmla="*/ 974414 w 1119387"/>
                <a:gd name="connsiteY5" fmla="*/ 1269781 h 1292430"/>
                <a:gd name="connsiteX6" fmla="*/ 202403 w 1119387"/>
                <a:gd name="connsiteY6" fmla="*/ 1288831 h 1292430"/>
                <a:gd name="connsiteX7" fmla="*/ 11776 w 1119387"/>
                <a:gd name="connsiteY7" fmla="*/ 1102967 h 1292430"/>
                <a:gd name="connsiteX8" fmla="*/ 7014 w 1119387"/>
                <a:gd name="connsiteY8" fmla="*/ 183416 h 1292430"/>
                <a:gd name="connsiteX0" fmla="*/ 7014 w 1119387"/>
                <a:gd name="connsiteY0" fmla="*/ 183416 h 1292430"/>
                <a:gd name="connsiteX1" fmla="*/ 159540 w 1119387"/>
                <a:gd name="connsiteY1" fmla="*/ 16602 h 1292430"/>
                <a:gd name="connsiteX2" fmla="*/ 806996 w 1119387"/>
                <a:gd name="connsiteY2" fmla="*/ 6806 h 1292430"/>
                <a:gd name="connsiteX3" fmla="*/ 1112653 w 1119387"/>
                <a:gd name="connsiteY3" fmla="*/ 264379 h 1292430"/>
                <a:gd name="connsiteX4" fmla="*/ 1117415 w 1119387"/>
                <a:gd name="connsiteY4" fmla="*/ 1088679 h 1292430"/>
                <a:gd name="connsiteX5" fmla="*/ 974414 w 1119387"/>
                <a:gd name="connsiteY5" fmla="*/ 1269781 h 1292430"/>
                <a:gd name="connsiteX6" fmla="*/ 202403 w 1119387"/>
                <a:gd name="connsiteY6" fmla="*/ 1288831 h 1292430"/>
                <a:gd name="connsiteX7" fmla="*/ 11776 w 1119387"/>
                <a:gd name="connsiteY7" fmla="*/ 1102967 h 1292430"/>
                <a:gd name="connsiteX8" fmla="*/ 7014 w 1119387"/>
                <a:gd name="connsiteY8" fmla="*/ 183416 h 1292430"/>
                <a:gd name="connsiteX0" fmla="*/ 7014 w 1119387"/>
                <a:gd name="connsiteY0" fmla="*/ 188678 h 1297692"/>
                <a:gd name="connsiteX1" fmla="*/ 249764 w 1119387"/>
                <a:gd name="connsiteY1" fmla="*/ 5808 h 1297692"/>
                <a:gd name="connsiteX2" fmla="*/ 806996 w 1119387"/>
                <a:gd name="connsiteY2" fmla="*/ 12068 h 1297692"/>
                <a:gd name="connsiteX3" fmla="*/ 1112653 w 1119387"/>
                <a:gd name="connsiteY3" fmla="*/ 269641 h 1297692"/>
                <a:gd name="connsiteX4" fmla="*/ 1117415 w 1119387"/>
                <a:gd name="connsiteY4" fmla="*/ 1093941 h 1297692"/>
                <a:gd name="connsiteX5" fmla="*/ 974414 w 1119387"/>
                <a:gd name="connsiteY5" fmla="*/ 1275043 h 1297692"/>
                <a:gd name="connsiteX6" fmla="*/ 202403 w 1119387"/>
                <a:gd name="connsiteY6" fmla="*/ 1294093 h 1297692"/>
                <a:gd name="connsiteX7" fmla="*/ 11776 w 1119387"/>
                <a:gd name="connsiteY7" fmla="*/ 1108229 h 1297692"/>
                <a:gd name="connsiteX8" fmla="*/ 7014 w 1119387"/>
                <a:gd name="connsiteY8" fmla="*/ 188678 h 1297692"/>
                <a:gd name="connsiteX0" fmla="*/ 7014 w 1119387"/>
                <a:gd name="connsiteY0" fmla="*/ 188678 h 1297692"/>
                <a:gd name="connsiteX1" fmla="*/ 249764 w 1119387"/>
                <a:gd name="connsiteY1" fmla="*/ 5808 h 1297692"/>
                <a:gd name="connsiteX2" fmla="*/ 806996 w 1119387"/>
                <a:gd name="connsiteY2" fmla="*/ 12068 h 1297692"/>
                <a:gd name="connsiteX3" fmla="*/ 1112653 w 1119387"/>
                <a:gd name="connsiteY3" fmla="*/ 269641 h 1297692"/>
                <a:gd name="connsiteX4" fmla="*/ 1117415 w 1119387"/>
                <a:gd name="connsiteY4" fmla="*/ 1093941 h 1297692"/>
                <a:gd name="connsiteX5" fmla="*/ 974414 w 1119387"/>
                <a:gd name="connsiteY5" fmla="*/ 1275043 h 1297692"/>
                <a:gd name="connsiteX6" fmla="*/ 202403 w 1119387"/>
                <a:gd name="connsiteY6" fmla="*/ 1294093 h 1297692"/>
                <a:gd name="connsiteX7" fmla="*/ 11776 w 1119387"/>
                <a:gd name="connsiteY7" fmla="*/ 1108229 h 1297692"/>
                <a:gd name="connsiteX8" fmla="*/ 7014 w 1119387"/>
                <a:gd name="connsiteY8" fmla="*/ 188678 h 1297692"/>
                <a:gd name="connsiteX0" fmla="*/ 1461 w 1181503"/>
                <a:gd name="connsiteY0" fmla="*/ 220789 h 1297692"/>
                <a:gd name="connsiteX1" fmla="*/ 311880 w 1181503"/>
                <a:gd name="connsiteY1" fmla="*/ 5808 h 1297692"/>
                <a:gd name="connsiteX2" fmla="*/ 869112 w 1181503"/>
                <a:gd name="connsiteY2" fmla="*/ 12068 h 1297692"/>
                <a:gd name="connsiteX3" fmla="*/ 1174769 w 1181503"/>
                <a:gd name="connsiteY3" fmla="*/ 269641 h 1297692"/>
                <a:gd name="connsiteX4" fmla="*/ 1179531 w 1181503"/>
                <a:gd name="connsiteY4" fmla="*/ 1093941 h 1297692"/>
                <a:gd name="connsiteX5" fmla="*/ 1036530 w 1181503"/>
                <a:gd name="connsiteY5" fmla="*/ 1275043 h 1297692"/>
                <a:gd name="connsiteX6" fmla="*/ 264519 w 1181503"/>
                <a:gd name="connsiteY6" fmla="*/ 1294093 h 1297692"/>
                <a:gd name="connsiteX7" fmla="*/ 73892 w 1181503"/>
                <a:gd name="connsiteY7" fmla="*/ 1108229 h 1297692"/>
                <a:gd name="connsiteX8" fmla="*/ 1461 w 1181503"/>
                <a:gd name="connsiteY8" fmla="*/ 220789 h 1297692"/>
                <a:gd name="connsiteX0" fmla="*/ 1461 w 1181503"/>
                <a:gd name="connsiteY0" fmla="*/ 220789 h 1297692"/>
                <a:gd name="connsiteX1" fmla="*/ 311880 w 1181503"/>
                <a:gd name="connsiteY1" fmla="*/ 5808 h 1297692"/>
                <a:gd name="connsiteX2" fmla="*/ 869112 w 1181503"/>
                <a:gd name="connsiteY2" fmla="*/ 12068 h 1297692"/>
                <a:gd name="connsiteX3" fmla="*/ 1174769 w 1181503"/>
                <a:gd name="connsiteY3" fmla="*/ 269641 h 1297692"/>
                <a:gd name="connsiteX4" fmla="*/ 1179531 w 1181503"/>
                <a:gd name="connsiteY4" fmla="*/ 1093941 h 1297692"/>
                <a:gd name="connsiteX5" fmla="*/ 1036530 w 1181503"/>
                <a:gd name="connsiteY5" fmla="*/ 1275043 h 1297692"/>
                <a:gd name="connsiteX6" fmla="*/ 264519 w 1181503"/>
                <a:gd name="connsiteY6" fmla="*/ 1294093 h 1297692"/>
                <a:gd name="connsiteX7" fmla="*/ 73892 w 1181503"/>
                <a:gd name="connsiteY7" fmla="*/ 1108229 h 1297692"/>
                <a:gd name="connsiteX8" fmla="*/ 1461 w 1181503"/>
                <a:gd name="connsiteY8" fmla="*/ 220789 h 1297692"/>
                <a:gd name="connsiteX0" fmla="*/ 1688 w 1170457"/>
                <a:gd name="connsiteY0" fmla="*/ 244873 h 1297692"/>
                <a:gd name="connsiteX1" fmla="*/ 300834 w 1170457"/>
                <a:gd name="connsiteY1" fmla="*/ 5808 h 1297692"/>
                <a:gd name="connsiteX2" fmla="*/ 858066 w 1170457"/>
                <a:gd name="connsiteY2" fmla="*/ 12068 h 1297692"/>
                <a:gd name="connsiteX3" fmla="*/ 1163723 w 1170457"/>
                <a:gd name="connsiteY3" fmla="*/ 269641 h 1297692"/>
                <a:gd name="connsiteX4" fmla="*/ 1168485 w 1170457"/>
                <a:gd name="connsiteY4" fmla="*/ 1093941 h 1297692"/>
                <a:gd name="connsiteX5" fmla="*/ 1025484 w 1170457"/>
                <a:gd name="connsiteY5" fmla="*/ 1275043 h 1297692"/>
                <a:gd name="connsiteX6" fmla="*/ 253473 w 1170457"/>
                <a:gd name="connsiteY6" fmla="*/ 1294093 h 1297692"/>
                <a:gd name="connsiteX7" fmla="*/ 62846 w 1170457"/>
                <a:gd name="connsiteY7" fmla="*/ 1108229 h 1297692"/>
                <a:gd name="connsiteX8" fmla="*/ 1688 w 1170457"/>
                <a:gd name="connsiteY8" fmla="*/ 244873 h 1297692"/>
                <a:gd name="connsiteX0" fmla="*/ 4415 w 1173184"/>
                <a:gd name="connsiteY0" fmla="*/ 244873 h 1297692"/>
                <a:gd name="connsiteX1" fmla="*/ 303561 w 1173184"/>
                <a:gd name="connsiteY1" fmla="*/ 5808 h 1297692"/>
                <a:gd name="connsiteX2" fmla="*/ 860793 w 1173184"/>
                <a:gd name="connsiteY2" fmla="*/ 12068 h 1297692"/>
                <a:gd name="connsiteX3" fmla="*/ 1166450 w 1173184"/>
                <a:gd name="connsiteY3" fmla="*/ 269641 h 1297692"/>
                <a:gd name="connsiteX4" fmla="*/ 1171212 w 1173184"/>
                <a:gd name="connsiteY4" fmla="*/ 1093941 h 1297692"/>
                <a:gd name="connsiteX5" fmla="*/ 1028211 w 1173184"/>
                <a:gd name="connsiteY5" fmla="*/ 1275043 h 1297692"/>
                <a:gd name="connsiteX6" fmla="*/ 256200 w 1173184"/>
                <a:gd name="connsiteY6" fmla="*/ 1294093 h 1297692"/>
                <a:gd name="connsiteX7" fmla="*/ 20458 w 1173184"/>
                <a:gd name="connsiteY7" fmla="*/ 1076117 h 1297692"/>
                <a:gd name="connsiteX8" fmla="*/ 4415 w 1173184"/>
                <a:gd name="connsiteY8" fmla="*/ 244873 h 1297692"/>
                <a:gd name="connsiteX0" fmla="*/ 9625 w 1178394"/>
                <a:gd name="connsiteY0" fmla="*/ 244873 h 1297692"/>
                <a:gd name="connsiteX1" fmla="*/ 308771 w 1178394"/>
                <a:gd name="connsiteY1" fmla="*/ 5808 h 1297692"/>
                <a:gd name="connsiteX2" fmla="*/ 866003 w 1178394"/>
                <a:gd name="connsiteY2" fmla="*/ 12068 h 1297692"/>
                <a:gd name="connsiteX3" fmla="*/ 1171660 w 1178394"/>
                <a:gd name="connsiteY3" fmla="*/ 269641 h 1297692"/>
                <a:gd name="connsiteX4" fmla="*/ 1176422 w 1178394"/>
                <a:gd name="connsiteY4" fmla="*/ 1093941 h 1297692"/>
                <a:gd name="connsiteX5" fmla="*/ 1033421 w 1178394"/>
                <a:gd name="connsiteY5" fmla="*/ 1275043 h 1297692"/>
                <a:gd name="connsiteX6" fmla="*/ 261410 w 1178394"/>
                <a:gd name="connsiteY6" fmla="*/ 1294093 h 1297692"/>
                <a:gd name="connsiteX7" fmla="*/ 25668 w 1178394"/>
                <a:gd name="connsiteY7" fmla="*/ 1076117 h 1297692"/>
                <a:gd name="connsiteX8" fmla="*/ 9625 w 1178394"/>
                <a:gd name="connsiteY8" fmla="*/ 244873 h 1297692"/>
                <a:gd name="connsiteX0" fmla="*/ 19306 w 1188075"/>
                <a:gd name="connsiteY0" fmla="*/ 244873 h 1297692"/>
                <a:gd name="connsiteX1" fmla="*/ 318452 w 1188075"/>
                <a:gd name="connsiteY1" fmla="*/ 5808 h 1297692"/>
                <a:gd name="connsiteX2" fmla="*/ 875684 w 1188075"/>
                <a:gd name="connsiteY2" fmla="*/ 12068 h 1297692"/>
                <a:gd name="connsiteX3" fmla="*/ 1181341 w 1188075"/>
                <a:gd name="connsiteY3" fmla="*/ 269641 h 1297692"/>
                <a:gd name="connsiteX4" fmla="*/ 1186103 w 1188075"/>
                <a:gd name="connsiteY4" fmla="*/ 1093941 h 1297692"/>
                <a:gd name="connsiteX5" fmla="*/ 1043102 w 1188075"/>
                <a:gd name="connsiteY5" fmla="*/ 1275043 h 1297692"/>
                <a:gd name="connsiteX6" fmla="*/ 271091 w 1188075"/>
                <a:gd name="connsiteY6" fmla="*/ 1294093 h 1297692"/>
                <a:gd name="connsiteX7" fmla="*/ 35349 w 1188075"/>
                <a:gd name="connsiteY7" fmla="*/ 1076117 h 1297692"/>
                <a:gd name="connsiteX8" fmla="*/ 19306 w 1188075"/>
                <a:gd name="connsiteY8" fmla="*/ 244873 h 1297692"/>
                <a:gd name="connsiteX0" fmla="*/ 19306 w 1188075"/>
                <a:gd name="connsiteY0" fmla="*/ 244873 h 1297692"/>
                <a:gd name="connsiteX1" fmla="*/ 318452 w 1188075"/>
                <a:gd name="connsiteY1" fmla="*/ 5808 h 1297692"/>
                <a:gd name="connsiteX2" fmla="*/ 875684 w 1188075"/>
                <a:gd name="connsiteY2" fmla="*/ 12068 h 1297692"/>
                <a:gd name="connsiteX3" fmla="*/ 1181341 w 1188075"/>
                <a:gd name="connsiteY3" fmla="*/ 269641 h 1297692"/>
                <a:gd name="connsiteX4" fmla="*/ 1186103 w 1188075"/>
                <a:gd name="connsiteY4" fmla="*/ 1093941 h 1297692"/>
                <a:gd name="connsiteX5" fmla="*/ 1043102 w 1188075"/>
                <a:gd name="connsiteY5" fmla="*/ 1275043 h 1297692"/>
                <a:gd name="connsiteX6" fmla="*/ 271091 w 1188075"/>
                <a:gd name="connsiteY6" fmla="*/ 1294093 h 1297692"/>
                <a:gd name="connsiteX7" fmla="*/ 35349 w 1188075"/>
                <a:gd name="connsiteY7" fmla="*/ 1076117 h 1297692"/>
                <a:gd name="connsiteX8" fmla="*/ 19306 w 1188075"/>
                <a:gd name="connsiteY8" fmla="*/ 244873 h 1297692"/>
                <a:gd name="connsiteX0" fmla="*/ 19306 w 1188075"/>
                <a:gd name="connsiteY0" fmla="*/ 244873 h 1318897"/>
                <a:gd name="connsiteX1" fmla="*/ 318452 w 1188075"/>
                <a:gd name="connsiteY1" fmla="*/ 5808 h 1318897"/>
                <a:gd name="connsiteX2" fmla="*/ 875684 w 1188075"/>
                <a:gd name="connsiteY2" fmla="*/ 12068 h 1318897"/>
                <a:gd name="connsiteX3" fmla="*/ 1181341 w 1188075"/>
                <a:gd name="connsiteY3" fmla="*/ 269641 h 1318897"/>
                <a:gd name="connsiteX4" fmla="*/ 1186103 w 1188075"/>
                <a:gd name="connsiteY4" fmla="*/ 1093941 h 1318897"/>
                <a:gd name="connsiteX5" fmla="*/ 1043102 w 1188075"/>
                <a:gd name="connsiteY5" fmla="*/ 1275043 h 1318897"/>
                <a:gd name="connsiteX6" fmla="*/ 316199 w 1188075"/>
                <a:gd name="connsiteY6" fmla="*/ 1318176 h 1318897"/>
                <a:gd name="connsiteX7" fmla="*/ 35349 w 1188075"/>
                <a:gd name="connsiteY7" fmla="*/ 1076117 h 1318897"/>
                <a:gd name="connsiteX8" fmla="*/ 19306 w 1188075"/>
                <a:gd name="connsiteY8" fmla="*/ 244873 h 1318897"/>
                <a:gd name="connsiteX0" fmla="*/ 19306 w 1188075"/>
                <a:gd name="connsiteY0" fmla="*/ 244873 h 1318897"/>
                <a:gd name="connsiteX1" fmla="*/ 318452 w 1188075"/>
                <a:gd name="connsiteY1" fmla="*/ 5808 h 1318897"/>
                <a:gd name="connsiteX2" fmla="*/ 875684 w 1188075"/>
                <a:gd name="connsiteY2" fmla="*/ 12068 h 1318897"/>
                <a:gd name="connsiteX3" fmla="*/ 1181341 w 1188075"/>
                <a:gd name="connsiteY3" fmla="*/ 269641 h 1318897"/>
                <a:gd name="connsiteX4" fmla="*/ 1186103 w 1188075"/>
                <a:gd name="connsiteY4" fmla="*/ 1093941 h 1318897"/>
                <a:gd name="connsiteX5" fmla="*/ 1043102 w 1188075"/>
                <a:gd name="connsiteY5" fmla="*/ 1275043 h 1318897"/>
                <a:gd name="connsiteX6" fmla="*/ 316199 w 1188075"/>
                <a:gd name="connsiteY6" fmla="*/ 1318176 h 1318897"/>
                <a:gd name="connsiteX7" fmla="*/ 35349 w 1188075"/>
                <a:gd name="connsiteY7" fmla="*/ 1076117 h 1318897"/>
                <a:gd name="connsiteX8" fmla="*/ 19306 w 1188075"/>
                <a:gd name="connsiteY8" fmla="*/ 244873 h 1318897"/>
                <a:gd name="connsiteX0" fmla="*/ 19306 w 1188075"/>
                <a:gd name="connsiteY0" fmla="*/ 244873 h 1321411"/>
                <a:gd name="connsiteX1" fmla="*/ 318452 w 1188075"/>
                <a:gd name="connsiteY1" fmla="*/ 5808 h 1321411"/>
                <a:gd name="connsiteX2" fmla="*/ 875684 w 1188075"/>
                <a:gd name="connsiteY2" fmla="*/ 12068 h 1321411"/>
                <a:gd name="connsiteX3" fmla="*/ 1181341 w 1188075"/>
                <a:gd name="connsiteY3" fmla="*/ 269641 h 1321411"/>
                <a:gd name="connsiteX4" fmla="*/ 1186103 w 1188075"/>
                <a:gd name="connsiteY4" fmla="*/ 1093941 h 1321411"/>
                <a:gd name="connsiteX5" fmla="*/ 1043102 w 1188075"/>
                <a:gd name="connsiteY5" fmla="*/ 1275043 h 1321411"/>
                <a:gd name="connsiteX6" fmla="*/ 316199 w 1188075"/>
                <a:gd name="connsiteY6" fmla="*/ 1318176 h 1321411"/>
                <a:gd name="connsiteX7" fmla="*/ 35349 w 1188075"/>
                <a:gd name="connsiteY7" fmla="*/ 1076117 h 1321411"/>
                <a:gd name="connsiteX8" fmla="*/ 19306 w 1188075"/>
                <a:gd name="connsiteY8" fmla="*/ 244873 h 1321411"/>
                <a:gd name="connsiteX0" fmla="*/ 19306 w 1188075"/>
                <a:gd name="connsiteY0" fmla="*/ 244873 h 1325315"/>
                <a:gd name="connsiteX1" fmla="*/ 318452 w 1188075"/>
                <a:gd name="connsiteY1" fmla="*/ 5808 h 1325315"/>
                <a:gd name="connsiteX2" fmla="*/ 875684 w 1188075"/>
                <a:gd name="connsiteY2" fmla="*/ 12068 h 1325315"/>
                <a:gd name="connsiteX3" fmla="*/ 1181341 w 1188075"/>
                <a:gd name="connsiteY3" fmla="*/ 269641 h 1325315"/>
                <a:gd name="connsiteX4" fmla="*/ 1186103 w 1188075"/>
                <a:gd name="connsiteY4" fmla="*/ 1093941 h 1325315"/>
                <a:gd name="connsiteX5" fmla="*/ 862656 w 1188075"/>
                <a:gd name="connsiteY5" fmla="*/ 1299127 h 1325315"/>
                <a:gd name="connsiteX6" fmla="*/ 316199 w 1188075"/>
                <a:gd name="connsiteY6" fmla="*/ 1318176 h 1325315"/>
                <a:gd name="connsiteX7" fmla="*/ 35349 w 1188075"/>
                <a:gd name="connsiteY7" fmla="*/ 1076117 h 1325315"/>
                <a:gd name="connsiteX8" fmla="*/ 19306 w 1188075"/>
                <a:gd name="connsiteY8" fmla="*/ 244873 h 1325315"/>
                <a:gd name="connsiteX0" fmla="*/ 19306 w 1188075"/>
                <a:gd name="connsiteY0" fmla="*/ 244873 h 1322378"/>
                <a:gd name="connsiteX1" fmla="*/ 318452 w 1188075"/>
                <a:gd name="connsiteY1" fmla="*/ 5808 h 1322378"/>
                <a:gd name="connsiteX2" fmla="*/ 875684 w 1188075"/>
                <a:gd name="connsiteY2" fmla="*/ 12068 h 1322378"/>
                <a:gd name="connsiteX3" fmla="*/ 1181341 w 1188075"/>
                <a:gd name="connsiteY3" fmla="*/ 269641 h 1322378"/>
                <a:gd name="connsiteX4" fmla="*/ 1186103 w 1188075"/>
                <a:gd name="connsiteY4" fmla="*/ 1093941 h 1322378"/>
                <a:gd name="connsiteX5" fmla="*/ 862656 w 1188075"/>
                <a:gd name="connsiteY5" fmla="*/ 1299127 h 1322378"/>
                <a:gd name="connsiteX6" fmla="*/ 316199 w 1188075"/>
                <a:gd name="connsiteY6" fmla="*/ 1318176 h 1322378"/>
                <a:gd name="connsiteX7" fmla="*/ 35349 w 1188075"/>
                <a:gd name="connsiteY7" fmla="*/ 1076117 h 1322378"/>
                <a:gd name="connsiteX8" fmla="*/ 19306 w 1188075"/>
                <a:gd name="connsiteY8" fmla="*/ 244873 h 1322378"/>
                <a:gd name="connsiteX0" fmla="*/ 19306 w 1188075"/>
                <a:gd name="connsiteY0" fmla="*/ 244873 h 1322378"/>
                <a:gd name="connsiteX1" fmla="*/ 318452 w 1188075"/>
                <a:gd name="connsiteY1" fmla="*/ 5808 h 1322378"/>
                <a:gd name="connsiteX2" fmla="*/ 875684 w 1188075"/>
                <a:gd name="connsiteY2" fmla="*/ 12068 h 1322378"/>
                <a:gd name="connsiteX3" fmla="*/ 1181341 w 1188075"/>
                <a:gd name="connsiteY3" fmla="*/ 269641 h 1322378"/>
                <a:gd name="connsiteX4" fmla="*/ 1186103 w 1188075"/>
                <a:gd name="connsiteY4" fmla="*/ 1093941 h 1322378"/>
                <a:gd name="connsiteX5" fmla="*/ 862656 w 1188075"/>
                <a:gd name="connsiteY5" fmla="*/ 1299127 h 1322378"/>
                <a:gd name="connsiteX6" fmla="*/ 316199 w 1188075"/>
                <a:gd name="connsiteY6" fmla="*/ 1318176 h 1322378"/>
                <a:gd name="connsiteX7" fmla="*/ 35349 w 1188075"/>
                <a:gd name="connsiteY7" fmla="*/ 1076117 h 1322378"/>
                <a:gd name="connsiteX8" fmla="*/ 19306 w 1188075"/>
                <a:gd name="connsiteY8" fmla="*/ 244873 h 1322378"/>
                <a:gd name="connsiteX0" fmla="*/ 19306 w 1198254"/>
                <a:gd name="connsiteY0" fmla="*/ 244873 h 1322378"/>
                <a:gd name="connsiteX1" fmla="*/ 318452 w 1198254"/>
                <a:gd name="connsiteY1" fmla="*/ 5808 h 1322378"/>
                <a:gd name="connsiteX2" fmla="*/ 875684 w 1198254"/>
                <a:gd name="connsiteY2" fmla="*/ 12068 h 1322378"/>
                <a:gd name="connsiteX3" fmla="*/ 1181341 w 1198254"/>
                <a:gd name="connsiteY3" fmla="*/ 269641 h 1322378"/>
                <a:gd name="connsiteX4" fmla="*/ 1197381 w 1198254"/>
                <a:gd name="connsiteY4" fmla="*/ 1005635 h 1322378"/>
                <a:gd name="connsiteX5" fmla="*/ 862656 w 1198254"/>
                <a:gd name="connsiteY5" fmla="*/ 1299127 h 1322378"/>
                <a:gd name="connsiteX6" fmla="*/ 316199 w 1198254"/>
                <a:gd name="connsiteY6" fmla="*/ 1318176 h 1322378"/>
                <a:gd name="connsiteX7" fmla="*/ 35349 w 1198254"/>
                <a:gd name="connsiteY7" fmla="*/ 1076117 h 1322378"/>
                <a:gd name="connsiteX8" fmla="*/ 19306 w 1198254"/>
                <a:gd name="connsiteY8" fmla="*/ 244873 h 1322378"/>
                <a:gd name="connsiteX0" fmla="*/ 19306 w 1198254"/>
                <a:gd name="connsiteY0" fmla="*/ 244873 h 1322378"/>
                <a:gd name="connsiteX1" fmla="*/ 318452 w 1198254"/>
                <a:gd name="connsiteY1" fmla="*/ 5808 h 1322378"/>
                <a:gd name="connsiteX2" fmla="*/ 875684 w 1198254"/>
                <a:gd name="connsiteY2" fmla="*/ 12068 h 1322378"/>
                <a:gd name="connsiteX3" fmla="*/ 1181341 w 1198254"/>
                <a:gd name="connsiteY3" fmla="*/ 269641 h 1322378"/>
                <a:gd name="connsiteX4" fmla="*/ 1197381 w 1198254"/>
                <a:gd name="connsiteY4" fmla="*/ 1005635 h 1322378"/>
                <a:gd name="connsiteX5" fmla="*/ 862656 w 1198254"/>
                <a:gd name="connsiteY5" fmla="*/ 1299127 h 1322378"/>
                <a:gd name="connsiteX6" fmla="*/ 316199 w 1198254"/>
                <a:gd name="connsiteY6" fmla="*/ 1318176 h 1322378"/>
                <a:gd name="connsiteX7" fmla="*/ 35349 w 1198254"/>
                <a:gd name="connsiteY7" fmla="*/ 1076117 h 1322378"/>
                <a:gd name="connsiteX8" fmla="*/ 19306 w 1198254"/>
                <a:gd name="connsiteY8" fmla="*/ 244873 h 1322378"/>
                <a:gd name="connsiteX0" fmla="*/ 19306 w 1198253"/>
                <a:gd name="connsiteY0" fmla="*/ 244873 h 1322378"/>
                <a:gd name="connsiteX1" fmla="*/ 318452 w 1198253"/>
                <a:gd name="connsiteY1" fmla="*/ 5808 h 1322378"/>
                <a:gd name="connsiteX2" fmla="*/ 875684 w 1198253"/>
                <a:gd name="connsiteY2" fmla="*/ 12068 h 1322378"/>
                <a:gd name="connsiteX3" fmla="*/ 1181341 w 1198253"/>
                <a:gd name="connsiteY3" fmla="*/ 269641 h 1322378"/>
                <a:gd name="connsiteX4" fmla="*/ 1197381 w 1198253"/>
                <a:gd name="connsiteY4" fmla="*/ 1005635 h 1322378"/>
                <a:gd name="connsiteX5" fmla="*/ 862656 w 1198253"/>
                <a:gd name="connsiteY5" fmla="*/ 1299127 h 1322378"/>
                <a:gd name="connsiteX6" fmla="*/ 316199 w 1198253"/>
                <a:gd name="connsiteY6" fmla="*/ 1318176 h 1322378"/>
                <a:gd name="connsiteX7" fmla="*/ 35349 w 1198253"/>
                <a:gd name="connsiteY7" fmla="*/ 1076117 h 1322378"/>
                <a:gd name="connsiteX8" fmla="*/ 19306 w 1198253"/>
                <a:gd name="connsiteY8" fmla="*/ 244873 h 1322378"/>
                <a:gd name="connsiteX0" fmla="*/ 19306 w 1198253"/>
                <a:gd name="connsiteY0" fmla="*/ 244873 h 1322378"/>
                <a:gd name="connsiteX1" fmla="*/ 318452 w 1198253"/>
                <a:gd name="connsiteY1" fmla="*/ 5808 h 1322378"/>
                <a:gd name="connsiteX2" fmla="*/ 875684 w 1198253"/>
                <a:gd name="connsiteY2" fmla="*/ 12068 h 1322378"/>
                <a:gd name="connsiteX3" fmla="*/ 1181341 w 1198253"/>
                <a:gd name="connsiteY3" fmla="*/ 269641 h 1322378"/>
                <a:gd name="connsiteX4" fmla="*/ 1197381 w 1198253"/>
                <a:gd name="connsiteY4" fmla="*/ 1005635 h 1322378"/>
                <a:gd name="connsiteX5" fmla="*/ 862656 w 1198253"/>
                <a:gd name="connsiteY5" fmla="*/ 1299127 h 1322378"/>
                <a:gd name="connsiteX6" fmla="*/ 316199 w 1198253"/>
                <a:gd name="connsiteY6" fmla="*/ 1318176 h 1322378"/>
                <a:gd name="connsiteX7" fmla="*/ 35349 w 1198253"/>
                <a:gd name="connsiteY7" fmla="*/ 1076117 h 1322378"/>
                <a:gd name="connsiteX8" fmla="*/ 19306 w 1198253"/>
                <a:gd name="connsiteY8" fmla="*/ 244873 h 1322378"/>
                <a:gd name="connsiteX0" fmla="*/ 19306 w 1198253"/>
                <a:gd name="connsiteY0" fmla="*/ 244873 h 1322378"/>
                <a:gd name="connsiteX1" fmla="*/ 318452 w 1198253"/>
                <a:gd name="connsiteY1" fmla="*/ 5808 h 1322378"/>
                <a:gd name="connsiteX2" fmla="*/ 875684 w 1198253"/>
                <a:gd name="connsiteY2" fmla="*/ 12068 h 1322378"/>
                <a:gd name="connsiteX3" fmla="*/ 1181341 w 1198253"/>
                <a:gd name="connsiteY3" fmla="*/ 269641 h 1322378"/>
                <a:gd name="connsiteX4" fmla="*/ 1197381 w 1198253"/>
                <a:gd name="connsiteY4" fmla="*/ 1005635 h 1322378"/>
                <a:gd name="connsiteX5" fmla="*/ 862656 w 1198253"/>
                <a:gd name="connsiteY5" fmla="*/ 1299127 h 1322378"/>
                <a:gd name="connsiteX6" fmla="*/ 316199 w 1198253"/>
                <a:gd name="connsiteY6" fmla="*/ 1318176 h 1322378"/>
                <a:gd name="connsiteX7" fmla="*/ 35349 w 1198253"/>
                <a:gd name="connsiteY7" fmla="*/ 1076117 h 1322378"/>
                <a:gd name="connsiteX8" fmla="*/ 19306 w 1198253"/>
                <a:gd name="connsiteY8" fmla="*/ 244873 h 1322378"/>
                <a:gd name="connsiteX0" fmla="*/ 19306 w 1198253"/>
                <a:gd name="connsiteY0" fmla="*/ 244873 h 1322378"/>
                <a:gd name="connsiteX1" fmla="*/ 318452 w 1198253"/>
                <a:gd name="connsiteY1" fmla="*/ 5808 h 1322378"/>
                <a:gd name="connsiteX2" fmla="*/ 875684 w 1198253"/>
                <a:gd name="connsiteY2" fmla="*/ 12068 h 1322378"/>
                <a:gd name="connsiteX3" fmla="*/ 1181341 w 1198253"/>
                <a:gd name="connsiteY3" fmla="*/ 269641 h 1322378"/>
                <a:gd name="connsiteX4" fmla="*/ 1197381 w 1198253"/>
                <a:gd name="connsiteY4" fmla="*/ 1005635 h 1322378"/>
                <a:gd name="connsiteX5" fmla="*/ 862656 w 1198253"/>
                <a:gd name="connsiteY5" fmla="*/ 1299127 h 1322378"/>
                <a:gd name="connsiteX6" fmla="*/ 316199 w 1198253"/>
                <a:gd name="connsiteY6" fmla="*/ 1318176 h 1322378"/>
                <a:gd name="connsiteX7" fmla="*/ 35349 w 1198253"/>
                <a:gd name="connsiteY7" fmla="*/ 1076117 h 1322378"/>
                <a:gd name="connsiteX8" fmla="*/ 19306 w 1198253"/>
                <a:gd name="connsiteY8" fmla="*/ 244873 h 1322378"/>
                <a:gd name="connsiteX0" fmla="*/ 19306 w 1201671"/>
                <a:gd name="connsiteY0" fmla="*/ 244873 h 1322378"/>
                <a:gd name="connsiteX1" fmla="*/ 318452 w 1201671"/>
                <a:gd name="connsiteY1" fmla="*/ 5808 h 1322378"/>
                <a:gd name="connsiteX2" fmla="*/ 875684 w 1201671"/>
                <a:gd name="connsiteY2" fmla="*/ 12068 h 1322378"/>
                <a:gd name="connsiteX3" fmla="*/ 1181341 w 1201671"/>
                <a:gd name="connsiteY3" fmla="*/ 269641 h 1322378"/>
                <a:gd name="connsiteX4" fmla="*/ 1197381 w 1201671"/>
                <a:gd name="connsiteY4" fmla="*/ 1005635 h 1322378"/>
                <a:gd name="connsiteX5" fmla="*/ 862656 w 1201671"/>
                <a:gd name="connsiteY5" fmla="*/ 1299127 h 1322378"/>
                <a:gd name="connsiteX6" fmla="*/ 316199 w 1201671"/>
                <a:gd name="connsiteY6" fmla="*/ 1318176 h 1322378"/>
                <a:gd name="connsiteX7" fmla="*/ 35349 w 1201671"/>
                <a:gd name="connsiteY7" fmla="*/ 1076117 h 1322378"/>
                <a:gd name="connsiteX8" fmla="*/ 19306 w 1201671"/>
                <a:gd name="connsiteY8" fmla="*/ 244873 h 1322378"/>
                <a:gd name="connsiteX0" fmla="*/ 19306 w 1201671"/>
                <a:gd name="connsiteY0" fmla="*/ 244873 h 1322378"/>
                <a:gd name="connsiteX1" fmla="*/ 318452 w 1201671"/>
                <a:gd name="connsiteY1" fmla="*/ 5808 h 1322378"/>
                <a:gd name="connsiteX2" fmla="*/ 875684 w 1201671"/>
                <a:gd name="connsiteY2" fmla="*/ 12068 h 1322378"/>
                <a:gd name="connsiteX3" fmla="*/ 1181341 w 1201671"/>
                <a:gd name="connsiteY3" fmla="*/ 269641 h 1322378"/>
                <a:gd name="connsiteX4" fmla="*/ 1197381 w 1201671"/>
                <a:gd name="connsiteY4" fmla="*/ 1005635 h 1322378"/>
                <a:gd name="connsiteX5" fmla="*/ 862656 w 1201671"/>
                <a:gd name="connsiteY5" fmla="*/ 1299127 h 1322378"/>
                <a:gd name="connsiteX6" fmla="*/ 316199 w 1201671"/>
                <a:gd name="connsiteY6" fmla="*/ 1318176 h 1322378"/>
                <a:gd name="connsiteX7" fmla="*/ 35349 w 1201671"/>
                <a:gd name="connsiteY7" fmla="*/ 1076117 h 1322378"/>
                <a:gd name="connsiteX8" fmla="*/ 19306 w 1201671"/>
                <a:gd name="connsiteY8" fmla="*/ 244873 h 1322378"/>
                <a:gd name="connsiteX0" fmla="*/ 19306 w 1201671"/>
                <a:gd name="connsiteY0" fmla="*/ 244873 h 1322378"/>
                <a:gd name="connsiteX1" fmla="*/ 318452 w 1201671"/>
                <a:gd name="connsiteY1" fmla="*/ 5808 h 1322378"/>
                <a:gd name="connsiteX2" fmla="*/ 875684 w 1201671"/>
                <a:gd name="connsiteY2" fmla="*/ 12068 h 1322378"/>
                <a:gd name="connsiteX3" fmla="*/ 1181341 w 1201671"/>
                <a:gd name="connsiteY3" fmla="*/ 269641 h 1322378"/>
                <a:gd name="connsiteX4" fmla="*/ 1197381 w 1201671"/>
                <a:gd name="connsiteY4" fmla="*/ 1005635 h 1322378"/>
                <a:gd name="connsiteX5" fmla="*/ 862656 w 1201671"/>
                <a:gd name="connsiteY5" fmla="*/ 1299127 h 1322378"/>
                <a:gd name="connsiteX6" fmla="*/ 316199 w 1201671"/>
                <a:gd name="connsiteY6" fmla="*/ 1318176 h 1322378"/>
                <a:gd name="connsiteX7" fmla="*/ 35349 w 1201671"/>
                <a:gd name="connsiteY7" fmla="*/ 1076117 h 1322378"/>
                <a:gd name="connsiteX8" fmla="*/ 19306 w 1201671"/>
                <a:gd name="connsiteY8" fmla="*/ 244873 h 1322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1671" h="1322378">
                  <a:moveTo>
                    <a:pt x="19306" y="244873"/>
                  </a:moveTo>
                  <a:cubicBezTo>
                    <a:pt x="28825" y="124670"/>
                    <a:pt x="153393" y="26625"/>
                    <a:pt x="318452" y="5808"/>
                  </a:cubicBezTo>
                  <a:cubicBezTo>
                    <a:pt x="456163" y="-543"/>
                    <a:pt x="626681" y="-5395"/>
                    <a:pt x="875684" y="12068"/>
                  </a:cubicBezTo>
                  <a:cubicBezTo>
                    <a:pt x="1034723" y="36151"/>
                    <a:pt x="1158786" y="122360"/>
                    <a:pt x="1181341" y="269641"/>
                  </a:cubicBezTo>
                  <a:cubicBezTo>
                    <a:pt x="1208661" y="522325"/>
                    <a:pt x="1202139" y="777034"/>
                    <a:pt x="1197381" y="1005635"/>
                  </a:cubicBezTo>
                  <a:cubicBezTo>
                    <a:pt x="1186101" y="1188564"/>
                    <a:pt x="1045661" y="1281242"/>
                    <a:pt x="862656" y="1299127"/>
                  </a:cubicBezTo>
                  <a:cubicBezTo>
                    <a:pt x="708308" y="1311646"/>
                    <a:pt x="549725" y="1330966"/>
                    <a:pt x="316199" y="1318176"/>
                  </a:cubicBezTo>
                  <a:cubicBezTo>
                    <a:pt x="157157" y="1318175"/>
                    <a:pt x="49637" y="1235916"/>
                    <a:pt x="35349" y="1076117"/>
                  </a:cubicBezTo>
                  <a:cubicBezTo>
                    <a:pt x="1678" y="732454"/>
                    <a:pt x="-15950" y="501184"/>
                    <a:pt x="19306" y="244873"/>
                  </a:cubicBezTo>
                  <a:close/>
                </a:path>
              </a:pathLst>
            </a:custGeom>
            <a:solidFill>
              <a:srgbClr val="5A1E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vert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lvl="1" algn="ctr" eaLnBrk="1" hangingPunct="1"/>
              <a:r>
                <a:rPr lang="fr-FR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The standardization</a:t>
              </a:r>
              <a:endParaRPr lang="fr-FR" sz="1800" b="0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  <a:p>
              <a:pPr marL="0" lvl="1" algn="ctr" eaLnBrk="1" hangingPunct="1">
                <a:spcBef>
                  <a:spcPts val="600"/>
                </a:spcBef>
              </a:pPr>
              <a:r>
                <a:rPr lang="fr-FR" sz="1600" dirty="0">
                  <a:solidFill>
                    <a:schemeClr val="bg1"/>
                  </a:solidFill>
                </a:rPr>
                <a:t>A tool at the service of operators</a:t>
              </a:r>
            </a:p>
          </p:txBody>
        </p:sp>
        <p:sp>
          <p:nvSpPr>
            <p:cNvPr id="28" name="Rectangle à coins arrondis 13"/>
            <p:cNvSpPr/>
            <p:nvPr/>
          </p:nvSpPr>
          <p:spPr bwMode="auto">
            <a:xfrm rot="16200000">
              <a:off x="-471372" y="2420446"/>
              <a:ext cx="955195" cy="1698162"/>
            </a:xfrm>
            <a:custGeom>
              <a:avLst/>
              <a:gdLst>
                <a:gd name="connsiteX0" fmla="*/ 0 w 1115164"/>
                <a:gd name="connsiteY0" fmla="*/ 185864 h 1272229"/>
                <a:gd name="connsiteX1" fmla="*/ 185864 w 1115164"/>
                <a:gd name="connsiteY1" fmla="*/ 0 h 1272229"/>
                <a:gd name="connsiteX2" fmla="*/ 929300 w 1115164"/>
                <a:gd name="connsiteY2" fmla="*/ 0 h 1272229"/>
                <a:gd name="connsiteX3" fmla="*/ 1115164 w 1115164"/>
                <a:gd name="connsiteY3" fmla="*/ 185864 h 1272229"/>
                <a:gd name="connsiteX4" fmla="*/ 1115164 w 1115164"/>
                <a:gd name="connsiteY4" fmla="*/ 1086365 h 1272229"/>
                <a:gd name="connsiteX5" fmla="*/ 929300 w 1115164"/>
                <a:gd name="connsiteY5" fmla="*/ 1272229 h 1272229"/>
                <a:gd name="connsiteX6" fmla="*/ 185864 w 1115164"/>
                <a:gd name="connsiteY6" fmla="*/ 1272229 h 1272229"/>
                <a:gd name="connsiteX7" fmla="*/ 0 w 1115164"/>
                <a:gd name="connsiteY7" fmla="*/ 1086365 h 1272229"/>
                <a:gd name="connsiteX8" fmla="*/ 0 w 1115164"/>
                <a:gd name="connsiteY8" fmla="*/ 185864 h 1272229"/>
                <a:gd name="connsiteX0" fmla="*/ 0 w 1119926"/>
                <a:gd name="connsiteY0" fmla="*/ 185864 h 1272229"/>
                <a:gd name="connsiteX1" fmla="*/ 185864 w 1119926"/>
                <a:gd name="connsiteY1" fmla="*/ 0 h 1272229"/>
                <a:gd name="connsiteX2" fmla="*/ 929300 w 1119926"/>
                <a:gd name="connsiteY2" fmla="*/ 0 h 1272229"/>
                <a:gd name="connsiteX3" fmla="*/ 1115164 w 1119926"/>
                <a:gd name="connsiteY3" fmla="*/ 185864 h 1272229"/>
                <a:gd name="connsiteX4" fmla="*/ 1119926 w 1119926"/>
                <a:gd name="connsiteY4" fmla="*/ 1148278 h 1272229"/>
                <a:gd name="connsiteX5" fmla="*/ 929300 w 1119926"/>
                <a:gd name="connsiteY5" fmla="*/ 1272229 h 1272229"/>
                <a:gd name="connsiteX6" fmla="*/ 185864 w 1119926"/>
                <a:gd name="connsiteY6" fmla="*/ 1272229 h 1272229"/>
                <a:gd name="connsiteX7" fmla="*/ 0 w 1119926"/>
                <a:gd name="connsiteY7" fmla="*/ 1086365 h 1272229"/>
                <a:gd name="connsiteX8" fmla="*/ 0 w 1119926"/>
                <a:gd name="connsiteY8" fmla="*/ 185864 h 1272229"/>
                <a:gd name="connsiteX0" fmla="*/ 0 w 1119926"/>
                <a:gd name="connsiteY0" fmla="*/ 185864 h 1272229"/>
                <a:gd name="connsiteX1" fmla="*/ 185864 w 1119926"/>
                <a:gd name="connsiteY1" fmla="*/ 0 h 1272229"/>
                <a:gd name="connsiteX2" fmla="*/ 929300 w 1119926"/>
                <a:gd name="connsiteY2" fmla="*/ 0 h 1272229"/>
                <a:gd name="connsiteX3" fmla="*/ 1115164 w 1119926"/>
                <a:gd name="connsiteY3" fmla="*/ 185864 h 1272229"/>
                <a:gd name="connsiteX4" fmla="*/ 1119926 w 1119926"/>
                <a:gd name="connsiteY4" fmla="*/ 1148278 h 1272229"/>
                <a:gd name="connsiteX5" fmla="*/ 986450 w 1119926"/>
                <a:gd name="connsiteY5" fmla="*/ 1272229 h 1272229"/>
                <a:gd name="connsiteX6" fmla="*/ 185864 w 1119926"/>
                <a:gd name="connsiteY6" fmla="*/ 1272229 h 1272229"/>
                <a:gd name="connsiteX7" fmla="*/ 0 w 1119926"/>
                <a:gd name="connsiteY7" fmla="*/ 1086365 h 1272229"/>
                <a:gd name="connsiteX8" fmla="*/ 0 w 1119926"/>
                <a:gd name="connsiteY8" fmla="*/ 185864 h 1272229"/>
                <a:gd name="connsiteX0" fmla="*/ 0 w 1119926"/>
                <a:gd name="connsiteY0" fmla="*/ 209676 h 1296041"/>
                <a:gd name="connsiteX1" fmla="*/ 162052 w 1119926"/>
                <a:gd name="connsiteY1" fmla="*/ 0 h 1296041"/>
                <a:gd name="connsiteX2" fmla="*/ 929300 w 1119926"/>
                <a:gd name="connsiteY2" fmla="*/ 23812 h 1296041"/>
                <a:gd name="connsiteX3" fmla="*/ 1115164 w 1119926"/>
                <a:gd name="connsiteY3" fmla="*/ 209676 h 1296041"/>
                <a:gd name="connsiteX4" fmla="*/ 1119926 w 1119926"/>
                <a:gd name="connsiteY4" fmla="*/ 1172090 h 1296041"/>
                <a:gd name="connsiteX5" fmla="*/ 986450 w 1119926"/>
                <a:gd name="connsiteY5" fmla="*/ 1296041 h 1296041"/>
                <a:gd name="connsiteX6" fmla="*/ 185864 w 1119926"/>
                <a:gd name="connsiteY6" fmla="*/ 1296041 h 1296041"/>
                <a:gd name="connsiteX7" fmla="*/ 0 w 1119926"/>
                <a:gd name="connsiteY7" fmla="*/ 1110177 h 1296041"/>
                <a:gd name="connsiteX8" fmla="*/ 0 w 1119926"/>
                <a:gd name="connsiteY8" fmla="*/ 209676 h 1296041"/>
                <a:gd name="connsiteX0" fmla="*/ 0 w 1124688"/>
                <a:gd name="connsiteY0" fmla="*/ 147763 h 1296041"/>
                <a:gd name="connsiteX1" fmla="*/ 166814 w 1124688"/>
                <a:gd name="connsiteY1" fmla="*/ 0 h 1296041"/>
                <a:gd name="connsiteX2" fmla="*/ 934062 w 1124688"/>
                <a:gd name="connsiteY2" fmla="*/ 23812 h 1296041"/>
                <a:gd name="connsiteX3" fmla="*/ 1119926 w 1124688"/>
                <a:gd name="connsiteY3" fmla="*/ 209676 h 1296041"/>
                <a:gd name="connsiteX4" fmla="*/ 1124688 w 1124688"/>
                <a:gd name="connsiteY4" fmla="*/ 1172090 h 1296041"/>
                <a:gd name="connsiteX5" fmla="*/ 991212 w 1124688"/>
                <a:gd name="connsiteY5" fmla="*/ 1296041 h 1296041"/>
                <a:gd name="connsiteX6" fmla="*/ 190626 w 1124688"/>
                <a:gd name="connsiteY6" fmla="*/ 1296041 h 1296041"/>
                <a:gd name="connsiteX7" fmla="*/ 4762 w 1124688"/>
                <a:gd name="connsiteY7" fmla="*/ 1110177 h 1296041"/>
                <a:gd name="connsiteX8" fmla="*/ 0 w 1124688"/>
                <a:gd name="connsiteY8" fmla="*/ 147763 h 1296041"/>
                <a:gd name="connsiteX0" fmla="*/ 0 w 1124688"/>
                <a:gd name="connsiteY0" fmla="*/ 147763 h 1296041"/>
                <a:gd name="connsiteX1" fmla="*/ 166814 w 1124688"/>
                <a:gd name="connsiteY1" fmla="*/ 0 h 1296041"/>
                <a:gd name="connsiteX2" fmla="*/ 934062 w 1124688"/>
                <a:gd name="connsiteY2" fmla="*/ 23812 h 1296041"/>
                <a:gd name="connsiteX3" fmla="*/ 1119926 w 1124688"/>
                <a:gd name="connsiteY3" fmla="*/ 209676 h 1296041"/>
                <a:gd name="connsiteX4" fmla="*/ 1124688 w 1124688"/>
                <a:gd name="connsiteY4" fmla="*/ 1172090 h 1296041"/>
                <a:gd name="connsiteX5" fmla="*/ 991212 w 1124688"/>
                <a:gd name="connsiteY5" fmla="*/ 1296041 h 1296041"/>
                <a:gd name="connsiteX6" fmla="*/ 190626 w 1124688"/>
                <a:gd name="connsiteY6" fmla="*/ 1296041 h 1296041"/>
                <a:gd name="connsiteX7" fmla="*/ 23812 w 1124688"/>
                <a:gd name="connsiteY7" fmla="*/ 1133990 h 1296041"/>
                <a:gd name="connsiteX8" fmla="*/ 0 w 1124688"/>
                <a:gd name="connsiteY8" fmla="*/ 147763 h 1296041"/>
                <a:gd name="connsiteX0" fmla="*/ 0 w 1124688"/>
                <a:gd name="connsiteY0" fmla="*/ 147763 h 1305566"/>
                <a:gd name="connsiteX1" fmla="*/ 166814 w 1124688"/>
                <a:gd name="connsiteY1" fmla="*/ 0 h 1305566"/>
                <a:gd name="connsiteX2" fmla="*/ 934062 w 1124688"/>
                <a:gd name="connsiteY2" fmla="*/ 23812 h 1305566"/>
                <a:gd name="connsiteX3" fmla="*/ 1119926 w 1124688"/>
                <a:gd name="connsiteY3" fmla="*/ 209676 h 1305566"/>
                <a:gd name="connsiteX4" fmla="*/ 1124688 w 1124688"/>
                <a:gd name="connsiteY4" fmla="*/ 1172090 h 1305566"/>
                <a:gd name="connsiteX5" fmla="*/ 991212 w 1124688"/>
                <a:gd name="connsiteY5" fmla="*/ 1296041 h 1305566"/>
                <a:gd name="connsiteX6" fmla="*/ 171576 w 1124688"/>
                <a:gd name="connsiteY6" fmla="*/ 1305566 h 1305566"/>
                <a:gd name="connsiteX7" fmla="*/ 23812 w 1124688"/>
                <a:gd name="connsiteY7" fmla="*/ 1133990 h 1305566"/>
                <a:gd name="connsiteX8" fmla="*/ 0 w 1124688"/>
                <a:gd name="connsiteY8" fmla="*/ 147763 h 1305566"/>
                <a:gd name="connsiteX0" fmla="*/ 0 w 1124688"/>
                <a:gd name="connsiteY0" fmla="*/ 147763 h 1305566"/>
                <a:gd name="connsiteX1" fmla="*/ 166814 w 1124688"/>
                <a:gd name="connsiteY1" fmla="*/ 0 h 1305566"/>
                <a:gd name="connsiteX2" fmla="*/ 972162 w 1124688"/>
                <a:gd name="connsiteY2" fmla="*/ 14287 h 1305566"/>
                <a:gd name="connsiteX3" fmla="*/ 1119926 w 1124688"/>
                <a:gd name="connsiteY3" fmla="*/ 209676 h 1305566"/>
                <a:gd name="connsiteX4" fmla="*/ 1124688 w 1124688"/>
                <a:gd name="connsiteY4" fmla="*/ 1172090 h 1305566"/>
                <a:gd name="connsiteX5" fmla="*/ 991212 w 1124688"/>
                <a:gd name="connsiteY5" fmla="*/ 1296041 h 1305566"/>
                <a:gd name="connsiteX6" fmla="*/ 171576 w 1124688"/>
                <a:gd name="connsiteY6" fmla="*/ 1305566 h 1305566"/>
                <a:gd name="connsiteX7" fmla="*/ 23812 w 1124688"/>
                <a:gd name="connsiteY7" fmla="*/ 1133990 h 1305566"/>
                <a:gd name="connsiteX8" fmla="*/ 0 w 1124688"/>
                <a:gd name="connsiteY8" fmla="*/ 147763 h 1305566"/>
                <a:gd name="connsiteX0" fmla="*/ 0 w 1134214"/>
                <a:gd name="connsiteY0" fmla="*/ 147763 h 1305566"/>
                <a:gd name="connsiteX1" fmla="*/ 166814 w 1134214"/>
                <a:gd name="connsiteY1" fmla="*/ 0 h 1305566"/>
                <a:gd name="connsiteX2" fmla="*/ 972162 w 1134214"/>
                <a:gd name="connsiteY2" fmla="*/ 14287 h 1305566"/>
                <a:gd name="connsiteX3" fmla="*/ 1134214 w 1134214"/>
                <a:gd name="connsiteY3" fmla="*/ 195389 h 1305566"/>
                <a:gd name="connsiteX4" fmla="*/ 1124688 w 1134214"/>
                <a:gd name="connsiteY4" fmla="*/ 1172090 h 1305566"/>
                <a:gd name="connsiteX5" fmla="*/ 991212 w 1134214"/>
                <a:gd name="connsiteY5" fmla="*/ 1296041 h 1305566"/>
                <a:gd name="connsiteX6" fmla="*/ 171576 w 1134214"/>
                <a:gd name="connsiteY6" fmla="*/ 1305566 h 1305566"/>
                <a:gd name="connsiteX7" fmla="*/ 23812 w 1134214"/>
                <a:gd name="connsiteY7" fmla="*/ 1133990 h 1305566"/>
                <a:gd name="connsiteX8" fmla="*/ 0 w 1134214"/>
                <a:gd name="connsiteY8" fmla="*/ 147763 h 1305566"/>
                <a:gd name="connsiteX0" fmla="*/ 0 w 1119926"/>
                <a:gd name="connsiteY0" fmla="*/ 133476 h 1305566"/>
                <a:gd name="connsiteX1" fmla="*/ 152526 w 1119926"/>
                <a:gd name="connsiteY1" fmla="*/ 0 h 1305566"/>
                <a:gd name="connsiteX2" fmla="*/ 957874 w 1119926"/>
                <a:gd name="connsiteY2" fmla="*/ 14287 h 1305566"/>
                <a:gd name="connsiteX3" fmla="*/ 1119926 w 1119926"/>
                <a:gd name="connsiteY3" fmla="*/ 195389 h 1305566"/>
                <a:gd name="connsiteX4" fmla="*/ 1110400 w 1119926"/>
                <a:gd name="connsiteY4" fmla="*/ 1172090 h 1305566"/>
                <a:gd name="connsiteX5" fmla="*/ 976924 w 1119926"/>
                <a:gd name="connsiteY5" fmla="*/ 1296041 h 1305566"/>
                <a:gd name="connsiteX6" fmla="*/ 157288 w 1119926"/>
                <a:gd name="connsiteY6" fmla="*/ 1305566 h 1305566"/>
                <a:gd name="connsiteX7" fmla="*/ 9524 w 1119926"/>
                <a:gd name="connsiteY7" fmla="*/ 1133990 h 1305566"/>
                <a:gd name="connsiteX8" fmla="*/ 0 w 1119926"/>
                <a:gd name="connsiteY8" fmla="*/ 133476 h 1305566"/>
                <a:gd name="connsiteX0" fmla="*/ 0 w 1115164"/>
                <a:gd name="connsiteY0" fmla="*/ 152526 h 1305566"/>
                <a:gd name="connsiteX1" fmla="*/ 147764 w 1115164"/>
                <a:gd name="connsiteY1" fmla="*/ 0 h 1305566"/>
                <a:gd name="connsiteX2" fmla="*/ 953112 w 1115164"/>
                <a:gd name="connsiteY2" fmla="*/ 14287 h 1305566"/>
                <a:gd name="connsiteX3" fmla="*/ 1115164 w 1115164"/>
                <a:gd name="connsiteY3" fmla="*/ 195389 h 1305566"/>
                <a:gd name="connsiteX4" fmla="*/ 1105638 w 1115164"/>
                <a:gd name="connsiteY4" fmla="*/ 1172090 h 1305566"/>
                <a:gd name="connsiteX5" fmla="*/ 972162 w 1115164"/>
                <a:gd name="connsiteY5" fmla="*/ 1296041 h 1305566"/>
                <a:gd name="connsiteX6" fmla="*/ 152526 w 1115164"/>
                <a:gd name="connsiteY6" fmla="*/ 1305566 h 1305566"/>
                <a:gd name="connsiteX7" fmla="*/ 4762 w 1115164"/>
                <a:gd name="connsiteY7" fmla="*/ 1133990 h 1305566"/>
                <a:gd name="connsiteX8" fmla="*/ 0 w 1115164"/>
                <a:gd name="connsiteY8" fmla="*/ 152526 h 1305566"/>
                <a:gd name="connsiteX0" fmla="*/ 0 w 1105639"/>
                <a:gd name="connsiteY0" fmla="*/ 152526 h 1305566"/>
                <a:gd name="connsiteX1" fmla="*/ 147764 w 1105639"/>
                <a:gd name="connsiteY1" fmla="*/ 0 h 1305566"/>
                <a:gd name="connsiteX2" fmla="*/ 953112 w 1105639"/>
                <a:gd name="connsiteY2" fmla="*/ 14287 h 1305566"/>
                <a:gd name="connsiteX3" fmla="*/ 1105639 w 1105639"/>
                <a:gd name="connsiteY3" fmla="*/ 166814 h 1305566"/>
                <a:gd name="connsiteX4" fmla="*/ 1105638 w 1105639"/>
                <a:gd name="connsiteY4" fmla="*/ 1172090 h 1305566"/>
                <a:gd name="connsiteX5" fmla="*/ 972162 w 1105639"/>
                <a:gd name="connsiteY5" fmla="*/ 1296041 h 1305566"/>
                <a:gd name="connsiteX6" fmla="*/ 152526 w 1105639"/>
                <a:gd name="connsiteY6" fmla="*/ 1305566 h 1305566"/>
                <a:gd name="connsiteX7" fmla="*/ 4762 w 1105639"/>
                <a:gd name="connsiteY7" fmla="*/ 1133990 h 1305566"/>
                <a:gd name="connsiteX8" fmla="*/ 0 w 1105639"/>
                <a:gd name="connsiteY8" fmla="*/ 152526 h 1305566"/>
                <a:gd name="connsiteX0" fmla="*/ 0 w 1105639"/>
                <a:gd name="connsiteY0" fmla="*/ 162051 h 1315091"/>
                <a:gd name="connsiteX1" fmla="*/ 157289 w 1105639"/>
                <a:gd name="connsiteY1" fmla="*/ 0 h 1315091"/>
                <a:gd name="connsiteX2" fmla="*/ 953112 w 1105639"/>
                <a:gd name="connsiteY2" fmla="*/ 23812 h 1315091"/>
                <a:gd name="connsiteX3" fmla="*/ 1105639 w 1105639"/>
                <a:gd name="connsiteY3" fmla="*/ 176339 h 1315091"/>
                <a:gd name="connsiteX4" fmla="*/ 1105638 w 1105639"/>
                <a:gd name="connsiteY4" fmla="*/ 1181615 h 1315091"/>
                <a:gd name="connsiteX5" fmla="*/ 972162 w 1105639"/>
                <a:gd name="connsiteY5" fmla="*/ 1305566 h 1315091"/>
                <a:gd name="connsiteX6" fmla="*/ 152526 w 1105639"/>
                <a:gd name="connsiteY6" fmla="*/ 1315091 h 1315091"/>
                <a:gd name="connsiteX7" fmla="*/ 4762 w 1105639"/>
                <a:gd name="connsiteY7" fmla="*/ 1143515 h 1315091"/>
                <a:gd name="connsiteX8" fmla="*/ 0 w 1105639"/>
                <a:gd name="connsiteY8" fmla="*/ 162051 h 1315091"/>
                <a:gd name="connsiteX0" fmla="*/ 0 w 1105639"/>
                <a:gd name="connsiteY0" fmla="*/ 162051 h 1315091"/>
                <a:gd name="connsiteX1" fmla="*/ 157289 w 1105639"/>
                <a:gd name="connsiteY1" fmla="*/ 0 h 1315091"/>
                <a:gd name="connsiteX2" fmla="*/ 953112 w 1105639"/>
                <a:gd name="connsiteY2" fmla="*/ 23812 h 1315091"/>
                <a:gd name="connsiteX3" fmla="*/ 1105639 w 1105639"/>
                <a:gd name="connsiteY3" fmla="*/ 176339 h 1315091"/>
                <a:gd name="connsiteX4" fmla="*/ 1100876 w 1105639"/>
                <a:gd name="connsiteY4" fmla="*/ 1119702 h 1315091"/>
                <a:gd name="connsiteX5" fmla="*/ 972162 w 1105639"/>
                <a:gd name="connsiteY5" fmla="*/ 1305566 h 1315091"/>
                <a:gd name="connsiteX6" fmla="*/ 152526 w 1105639"/>
                <a:gd name="connsiteY6" fmla="*/ 1315091 h 1315091"/>
                <a:gd name="connsiteX7" fmla="*/ 4762 w 1105639"/>
                <a:gd name="connsiteY7" fmla="*/ 1143515 h 1315091"/>
                <a:gd name="connsiteX8" fmla="*/ 0 w 1105639"/>
                <a:gd name="connsiteY8" fmla="*/ 162051 h 1315091"/>
                <a:gd name="connsiteX0" fmla="*/ 0 w 1105639"/>
                <a:gd name="connsiteY0" fmla="*/ 162051 h 1315091"/>
                <a:gd name="connsiteX1" fmla="*/ 157289 w 1105639"/>
                <a:gd name="connsiteY1" fmla="*/ 0 h 1315091"/>
                <a:gd name="connsiteX2" fmla="*/ 953112 w 1105639"/>
                <a:gd name="connsiteY2" fmla="*/ 23812 h 1315091"/>
                <a:gd name="connsiteX3" fmla="*/ 1105639 w 1105639"/>
                <a:gd name="connsiteY3" fmla="*/ 176339 h 1315091"/>
                <a:gd name="connsiteX4" fmla="*/ 1100876 w 1105639"/>
                <a:gd name="connsiteY4" fmla="*/ 1119702 h 1315091"/>
                <a:gd name="connsiteX5" fmla="*/ 967400 w 1105639"/>
                <a:gd name="connsiteY5" fmla="*/ 1286516 h 1315091"/>
                <a:gd name="connsiteX6" fmla="*/ 152526 w 1105639"/>
                <a:gd name="connsiteY6" fmla="*/ 1315091 h 1315091"/>
                <a:gd name="connsiteX7" fmla="*/ 4762 w 1105639"/>
                <a:gd name="connsiteY7" fmla="*/ 1143515 h 1315091"/>
                <a:gd name="connsiteX8" fmla="*/ 0 w 1105639"/>
                <a:gd name="connsiteY8" fmla="*/ 162051 h 1315091"/>
                <a:gd name="connsiteX0" fmla="*/ 0 w 1105639"/>
                <a:gd name="connsiteY0" fmla="*/ 162051 h 1315091"/>
                <a:gd name="connsiteX1" fmla="*/ 157289 w 1105639"/>
                <a:gd name="connsiteY1" fmla="*/ 0 h 1315091"/>
                <a:gd name="connsiteX2" fmla="*/ 953112 w 1105639"/>
                <a:gd name="connsiteY2" fmla="*/ 23812 h 1315091"/>
                <a:gd name="connsiteX3" fmla="*/ 1105639 w 1105639"/>
                <a:gd name="connsiteY3" fmla="*/ 176339 h 1315091"/>
                <a:gd name="connsiteX4" fmla="*/ 1100876 w 1105639"/>
                <a:gd name="connsiteY4" fmla="*/ 1119702 h 1315091"/>
                <a:gd name="connsiteX5" fmla="*/ 967400 w 1105639"/>
                <a:gd name="connsiteY5" fmla="*/ 1286516 h 1315091"/>
                <a:gd name="connsiteX6" fmla="*/ 152526 w 1105639"/>
                <a:gd name="connsiteY6" fmla="*/ 1315091 h 1315091"/>
                <a:gd name="connsiteX7" fmla="*/ 4762 w 1105639"/>
                <a:gd name="connsiteY7" fmla="*/ 1143515 h 1315091"/>
                <a:gd name="connsiteX8" fmla="*/ 0 w 1105639"/>
                <a:gd name="connsiteY8" fmla="*/ 162051 h 1315091"/>
                <a:gd name="connsiteX0" fmla="*/ 1277 w 1106916"/>
                <a:gd name="connsiteY0" fmla="*/ 162051 h 1315091"/>
                <a:gd name="connsiteX1" fmla="*/ 158566 w 1106916"/>
                <a:gd name="connsiteY1" fmla="*/ 0 h 1315091"/>
                <a:gd name="connsiteX2" fmla="*/ 954389 w 1106916"/>
                <a:gd name="connsiteY2" fmla="*/ 23812 h 1315091"/>
                <a:gd name="connsiteX3" fmla="*/ 1106916 w 1106916"/>
                <a:gd name="connsiteY3" fmla="*/ 176339 h 1315091"/>
                <a:gd name="connsiteX4" fmla="*/ 1102153 w 1106916"/>
                <a:gd name="connsiteY4" fmla="*/ 1119702 h 1315091"/>
                <a:gd name="connsiteX5" fmla="*/ 968677 w 1106916"/>
                <a:gd name="connsiteY5" fmla="*/ 1286516 h 1315091"/>
                <a:gd name="connsiteX6" fmla="*/ 153803 w 1106916"/>
                <a:gd name="connsiteY6" fmla="*/ 1315091 h 1315091"/>
                <a:gd name="connsiteX7" fmla="*/ 6039 w 1106916"/>
                <a:gd name="connsiteY7" fmla="*/ 1143515 h 1315091"/>
                <a:gd name="connsiteX8" fmla="*/ 1277 w 1106916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2051 h 1315091"/>
                <a:gd name="connsiteX1" fmla="*/ 160282 w 1108632"/>
                <a:gd name="connsiteY1" fmla="*/ 0 h 1315091"/>
                <a:gd name="connsiteX2" fmla="*/ 956105 w 1108632"/>
                <a:gd name="connsiteY2" fmla="*/ 23812 h 1315091"/>
                <a:gd name="connsiteX3" fmla="*/ 1108632 w 1108632"/>
                <a:gd name="connsiteY3" fmla="*/ 176339 h 1315091"/>
                <a:gd name="connsiteX4" fmla="*/ 1103869 w 1108632"/>
                <a:gd name="connsiteY4" fmla="*/ 1119702 h 1315091"/>
                <a:gd name="connsiteX5" fmla="*/ 970393 w 1108632"/>
                <a:gd name="connsiteY5" fmla="*/ 1286516 h 1315091"/>
                <a:gd name="connsiteX6" fmla="*/ 155519 w 1108632"/>
                <a:gd name="connsiteY6" fmla="*/ 1315091 h 1315091"/>
                <a:gd name="connsiteX7" fmla="*/ 7755 w 1108632"/>
                <a:gd name="connsiteY7" fmla="*/ 1143515 h 1315091"/>
                <a:gd name="connsiteX8" fmla="*/ 2993 w 1108632"/>
                <a:gd name="connsiteY8" fmla="*/ 162051 h 1315091"/>
                <a:gd name="connsiteX0" fmla="*/ 2993 w 1108632"/>
                <a:gd name="connsiteY0" fmla="*/ 167872 h 1320912"/>
                <a:gd name="connsiteX1" fmla="*/ 160282 w 1108632"/>
                <a:gd name="connsiteY1" fmla="*/ 5821 h 1320912"/>
                <a:gd name="connsiteX2" fmla="*/ 956105 w 1108632"/>
                <a:gd name="connsiteY2" fmla="*/ 29633 h 1320912"/>
                <a:gd name="connsiteX3" fmla="*/ 1108632 w 1108632"/>
                <a:gd name="connsiteY3" fmla="*/ 182160 h 1320912"/>
                <a:gd name="connsiteX4" fmla="*/ 1103869 w 1108632"/>
                <a:gd name="connsiteY4" fmla="*/ 1125523 h 1320912"/>
                <a:gd name="connsiteX5" fmla="*/ 970393 w 1108632"/>
                <a:gd name="connsiteY5" fmla="*/ 1292337 h 1320912"/>
                <a:gd name="connsiteX6" fmla="*/ 155519 w 1108632"/>
                <a:gd name="connsiteY6" fmla="*/ 1320912 h 1320912"/>
                <a:gd name="connsiteX7" fmla="*/ 7755 w 1108632"/>
                <a:gd name="connsiteY7" fmla="*/ 1149336 h 1320912"/>
                <a:gd name="connsiteX8" fmla="*/ 2993 w 1108632"/>
                <a:gd name="connsiteY8" fmla="*/ 167872 h 1320912"/>
                <a:gd name="connsiteX0" fmla="*/ 2993 w 1108632"/>
                <a:gd name="connsiteY0" fmla="*/ 167872 h 1320912"/>
                <a:gd name="connsiteX1" fmla="*/ 160282 w 1108632"/>
                <a:gd name="connsiteY1" fmla="*/ 5821 h 1320912"/>
                <a:gd name="connsiteX2" fmla="*/ 956105 w 1108632"/>
                <a:gd name="connsiteY2" fmla="*/ 29633 h 1320912"/>
                <a:gd name="connsiteX3" fmla="*/ 1108632 w 1108632"/>
                <a:gd name="connsiteY3" fmla="*/ 182160 h 1320912"/>
                <a:gd name="connsiteX4" fmla="*/ 1103869 w 1108632"/>
                <a:gd name="connsiteY4" fmla="*/ 1125523 h 1320912"/>
                <a:gd name="connsiteX5" fmla="*/ 970393 w 1108632"/>
                <a:gd name="connsiteY5" fmla="*/ 1292337 h 1320912"/>
                <a:gd name="connsiteX6" fmla="*/ 155519 w 1108632"/>
                <a:gd name="connsiteY6" fmla="*/ 1320912 h 1320912"/>
                <a:gd name="connsiteX7" fmla="*/ 7755 w 1108632"/>
                <a:gd name="connsiteY7" fmla="*/ 1149336 h 1320912"/>
                <a:gd name="connsiteX8" fmla="*/ 2993 w 1108632"/>
                <a:gd name="connsiteY8" fmla="*/ 167872 h 1320912"/>
                <a:gd name="connsiteX0" fmla="*/ 2993 w 1108632"/>
                <a:gd name="connsiteY0" fmla="*/ 173368 h 1326408"/>
                <a:gd name="connsiteX1" fmla="*/ 160282 w 1108632"/>
                <a:gd name="connsiteY1" fmla="*/ 11317 h 1326408"/>
                <a:gd name="connsiteX2" fmla="*/ 960867 w 1108632"/>
                <a:gd name="connsiteY2" fmla="*/ 20841 h 1326408"/>
                <a:gd name="connsiteX3" fmla="*/ 1108632 w 1108632"/>
                <a:gd name="connsiteY3" fmla="*/ 187656 h 1326408"/>
                <a:gd name="connsiteX4" fmla="*/ 1103869 w 1108632"/>
                <a:gd name="connsiteY4" fmla="*/ 1131019 h 1326408"/>
                <a:gd name="connsiteX5" fmla="*/ 970393 w 1108632"/>
                <a:gd name="connsiteY5" fmla="*/ 1297833 h 1326408"/>
                <a:gd name="connsiteX6" fmla="*/ 155519 w 1108632"/>
                <a:gd name="connsiteY6" fmla="*/ 1326408 h 1326408"/>
                <a:gd name="connsiteX7" fmla="*/ 7755 w 1108632"/>
                <a:gd name="connsiteY7" fmla="*/ 1154832 h 1326408"/>
                <a:gd name="connsiteX8" fmla="*/ 2993 w 1108632"/>
                <a:gd name="connsiteY8" fmla="*/ 173368 h 1326408"/>
                <a:gd name="connsiteX0" fmla="*/ 2993 w 1108632"/>
                <a:gd name="connsiteY0" fmla="*/ 169971 h 1323011"/>
                <a:gd name="connsiteX1" fmla="*/ 160282 w 1108632"/>
                <a:gd name="connsiteY1" fmla="*/ 7920 h 1323011"/>
                <a:gd name="connsiteX2" fmla="*/ 960867 w 1108632"/>
                <a:gd name="connsiteY2" fmla="*/ 17444 h 1323011"/>
                <a:gd name="connsiteX3" fmla="*/ 1108632 w 1108632"/>
                <a:gd name="connsiteY3" fmla="*/ 184259 h 1323011"/>
                <a:gd name="connsiteX4" fmla="*/ 1103869 w 1108632"/>
                <a:gd name="connsiteY4" fmla="*/ 1127622 h 1323011"/>
                <a:gd name="connsiteX5" fmla="*/ 970393 w 1108632"/>
                <a:gd name="connsiteY5" fmla="*/ 1294436 h 1323011"/>
                <a:gd name="connsiteX6" fmla="*/ 155519 w 1108632"/>
                <a:gd name="connsiteY6" fmla="*/ 1323011 h 1323011"/>
                <a:gd name="connsiteX7" fmla="*/ 7755 w 1108632"/>
                <a:gd name="connsiteY7" fmla="*/ 1151435 h 1323011"/>
                <a:gd name="connsiteX8" fmla="*/ 2993 w 1108632"/>
                <a:gd name="connsiteY8" fmla="*/ 169971 h 1323011"/>
                <a:gd name="connsiteX0" fmla="*/ 2993 w 1108632"/>
                <a:gd name="connsiteY0" fmla="*/ 169971 h 1323011"/>
                <a:gd name="connsiteX1" fmla="*/ 160282 w 1108632"/>
                <a:gd name="connsiteY1" fmla="*/ 7920 h 1323011"/>
                <a:gd name="connsiteX2" fmla="*/ 960867 w 1108632"/>
                <a:gd name="connsiteY2" fmla="*/ 17444 h 1323011"/>
                <a:gd name="connsiteX3" fmla="*/ 1108632 w 1108632"/>
                <a:gd name="connsiteY3" fmla="*/ 184259 h 1323011"/>
                <a:gd name="connsiteX4" fmla="*/ 1103869 w 1108632"/>
                <a:gd name="connsiteY4" fmla="*/ 1127622 h 1323011"/>
                <a:gd name="connsiteX5" fmla="*/ 970393 w 1108632"/>
                <a:gd name="connsiteY5" fmla="*/ 1294436 h 1323011"/>
                <a:gd name="connsiteX6" fmla="*/ 155519 w 1108632"/>
                <a:gd name="connsiteY6" fmla="*/ 1323011 h 1323011"/>
                <a:gd name="connsiteX7" fmla="*/ 7755 w 1108632"/>
                <a:gd name="connsiteY7" fmla="*/ 1151435 h 1323011"/>
                <a:gd name="connsiteX8" fmla="*/ 2993 w 1108632"/>
                <a:gd name="connsiteY8" fmla="*/ 169971 h 1323011"/>
                <a:gd name="connsiteX0" fmla="*/ 2993 w 1108632"/>
                <a:gd name="connsiteY0" fmla="*/ 169971 h 1323011"/>
                <a:gd name="connsiteX1" fmla="*/ 160282 w 1108632"/>
                <a:gd name="connsiteY1" fmla="*/ 7920 h 1323011"/>
                <a:gd name="connsiteX2" fmla="*/ 960867 w 1108632"/>
                <a:gd name="connsiteY2" fmla="*/ 17444 h 1323011"/>
                <a:gd name="connsiteX3" fmla="*/ 1108632 w 1108632"/>
                <a:gd name="connsiteY3" fmla="*/ 250934 h 1323011"/>
                <a:gd name="connsiteX4" fmla="*/ 1103869 w 1108632"/>
                <a:gd name="connsiteY4" fmla="*/ 1127622 h 1323011"/>
                <a:gd name="connsiteX5" fmla="*/ 970393 w 1108632"/>
                <a:gd name="connsiteY5" fmla="*/ 1294436 h 1323011"/>
                <a:gd name="connsiteX6" fmla="*/ 155519 w 1108632"/>
                <a:gd name="connsiteY6" fmla="*/ 1323011 h 1323011"/>
                <a:gd name="connsiteX7" fmla="*/ 7755 w 1108632"/>
                <a:gd name="connsiteY7" fmla="*/ 1151435 h 1323011"/>
                <a:gd name="connsiteX8" fmla="*/ 2993 w 1108632"/>
                <a:gd name="connsiteY8" fmla="*/ 169971 h 1323011"/>
                <a:gd name="connsiteX0" fmla="*/ 2993 w 1109965"/>
                <a:gd name="connsiteY0" fmla="*/ 169971 h 1323011"/>
                <a:gd name="connsiteX1" fmla="*/ 160282 w 1109965"/>
                <a:gd name="connsiteY1" fmla="*/ 7920 h 1323011"/>
                <a:gd name="connsiteX2" fmla="*/ 960867 w 1109965"/>
                <a:gd name="connsiteY2" fmla="*/ 17444 h 1323011"/>
                <a:gd name="connsiteX3" fmla="*/ 1108632 w 1109965"/>
                <a:gd name="connsiteY3" fmla="*/ 250934 h 1323011"/>
                <a:gd name="connsiteX4" fmla="*/ 1103869 w 1109965"/>
                <a:gd name="connsiteY4" fmla="*/ 1127622 h 1323011"/>
                <a:gd name="connsiteX5" fmla="*/ 970393 w 1109965"/>
                <a:gd name="connsiteY5" fmla="*/ 1294436 h 1323011"/>
                <a:gd name="connsiteX6" fmla="*/ 155519 w 1109965"/>
                <a:gd name="connsiteY6" fmla="*/ 1323011 h 1323011"/>
                <a:gd name="connsiteX7" fmla="*/ 7755 w 1109965"/>
                <a:gd name="connsiteY7" fmla="*/ 1151435 h 1323011"/>
                <a:gd name="connsiteX8" fmla="*/ 2993 w 1109965"/>
                <a:gd name="connsiteY8" fmla="*/ 169971 h 1323011"/>
                <a:gd name="connsiteX0" fmla="*/ 2993 w 1110604"/>
                <a:gd name="connsiteY0" fmla="*/ 169971 h 1323011"/>
                <a:gd name="connsiteX1" fmla="*/ 160282 w 1110604"/>
                <a:gd name="connsiteY1" fmla="*/ 7920 h 1323011"/>
                <a:gd name="connsiteX2" fmla="*/ 960867 w 1110604"/>
                <a:gd name="connsiteY2" fmla="*/ 17444 h 1323011"/>
                <a:gd name="connsiteX3" fmla="*/ 1108632 w 1110604"/>
                <a:gd name="connsiteY3" fmla="*/ 250934 h 1323011"/>
                <a:gd name="connsiteX4" fmla="*/ 1103869 w 1110604"/>
                <a:gd name="connsiteY4" fmla="*/ 1127622 h 1323011"/>
                <a:gd name="connsiteX5" fmla="*/ 970393 w 1110604"/>
                <a:gd name="connsiteY5" fmla="*/ 1294436 h 1323011"/>
                <a:gd name="connsiteX6" fmla="*/ 155519 w 1110604"/>
                <a:gd name="connsiteY6" fmla="*/ 1323011 h 1323011"/>
                <a:gd name="connsiteX7" fmla="*/ 7755 w 1110604"/>
                <a:gd name="connsiteY7" fmla="*/ 1151435 h 1323011"/>
                <a:gd name="connsiteX8" fmla="*/ 2993 w 1110604"/>
                <a:gd name="connsiteY8" fmla="*/ 169971 h 1323011"/>
                <a:gd name="connsiteX0" fmla="*/ 2993 w 1110604"/>
                <a:gd name="connsiteY0" fmla="*/ 169971 h 1323011"/>
                <a:gd name="connsiteX1" fmla="*/ 160282 w 1110604"/>
                <a:gd name="connsiteY1" fmla="*/ 7920 h 1323011"/>
                <a:gd name="connsiteX2" fmla="*/ 960867 w 1110604"/>
                <a:gd name="connsiteY2" fmla="*/ 17444 h 1323011"/>
                <a:gd name="connsiteX3" fmla="*/ 1108632 w 1110604"/>
                <a:gd name="connsiteY3" fmla="*/ 250934 h 1323011"/>
                <a:gd name="connsiteX4" fmla="*/ 1103869 w 1110604"/>
                <a:gd name="connsiteY4" fmla="*/ 1127622 h 1323011"/>
                <a:gd name="connsiteX5" fmla="*/ 970393 w 1110604"/>
                <a:gd name="connsiteY5" fmla="*/ 1294436 h 1323011"/>
                <a:gd name="connsiteX6" fmla="*/ 155519 w 1110604"/>
                <a:gd name="connsiteY6" fmla="*/ 1323011 h 1323011"/>
                <a:gd name="connsiteX7" fmla="*/ 7755 w 1110604"/>
                <a:gd name="connsiteY7" fmla="*/ 1089522 h 1323011"/>
                <a:gd name="connsiteX8" fmla="*/ 2993 w 1110604"/>
                <a:gd name="connsiteY8" fmla="*/ 169971 h 1323011"/>
                <a:gd name="connsiteX0" fmla="*/ 2993 w 1110604"/>
                <a:gd name="connsiteY0" fmla="*/ 169971 h 1323011"/>
                <a:gd name="connsiteX1" fmla="*/ 160282 w 1110604"/>
                <a:gd name="connsiteY1" fmla="*/ 7920 h 1323011"/>
                <a:gd name="connsiteX2" fmla="*/ 960867 w 1110604"/>
                <a:gd name="connsiteY2" fmla="*/ 17444 h 1323011"/>
                <a:gd name="connsiteX3" fmla="*/ 1108632 w 1110604"/>
                <a:gd name="connsiteY3" fmla="*/ 250934 h 1323011"/>
                <a:gd name="connsiteX4" fmla="*/ 1103869 w 1110604"/>
                <a:gd name="connsiteY4" fmla="*/ 1127622 h 1323011"/>
                <a:gd name="connsiteX5" fmla="*/ 970393 w 1110604"/>
                <a:gd name="connsiteY5" fmla="*/ 1294436 h 1323011"/>
                <a:gd name="connsiteX6" fmla="*/ 222194 w 1110604"/>
                <a:gd name="connsiteY6" fmla="*/ 1323011 h 1323011"/>
                <a:gd name="connsiteX7" fmla="*/ 7755 w 1110604"/>
                <a:gd name="connsiteY7" fmla="*/ 1089522 h 1323011"/>
                <a:gd name="connsiteX8" fmla="*/ 2993 w 1110604"/>
                <a:gd name="connsiteY8" fmla="*/ 169971 h 1323011"/>
                <a:gd name="connsiteX0" fmla="*/ 2993 w 1110604"/>
                <a:gd name="connsiteY0" fmla="*/ 169971 h 1323471"/>
                <a:gd name="connsiteX1" fmla="*/ 160282 w 1110604"/>
                <a:gd name="connsiteY1" fmla="*/ 7920 h 1323471"/>
                <a:gd name="connsiteX2" fmla="*/ 960867 w 1110604"/>
                <a:gd name="connsiteY2" fmla="*/ 17444 h 1323471"/>
                <a:gd name="connsiteX3" fmla="*/ 1108632 w 1110604"/>
                <a:gd name="connsiteY3" fmla="*/ 250934 h 1323471"/>
                <a:gd name="connsiteX4" fmla="*/ 1103869 w 1110604"/>
                <a:gd name="connsiteY4" fmla="*/ 1127622 h 1323471"/>
                <a:gd name="connsiteX5" fmla="*/ 970393 w 1110604"/>
                <a:gd name="connsiteY5" fmla="*/ 1294436 h 1323471"/>
                <a:gd name="connsiteX6" fmla="*/ 222194 w 1110604"/>
                <a:gd name="connsiteY6" fmla="*/ 1323011 h 1323471"/>
                <a:gd name="connsiteX7" fmla="*/ 7755 w 1110604"/>
                <a:gd name="connsiteY7" fmla="*/ 1089522 h 1323471"/>
                <a:gd name="connsiteX8" fmla="*/ 2993 w 1110604"/>
                <a:gd name="connsiteY8" fmla="*/ 169971 h 1323471"/>
                <a:gd name="connsiteX0" fmla="*/ 2993 w 1110604"/>
                <a:gd name="connsiteY0" fmla="*/ 169971 h 1324619"/>
                <a:gd name="connsiteX1" fmla="*/ 160282 w 1110604"/>
                <a:gd name="connsiteY1" fmla="*/ 7920 h 1324619"/>
                <a:gd name="connsiteX2" fmla="*/ 960867 w 1110604"/>
                <a:gd name="connsiteY2" fmla="*/ 17444 h 1324619"/>
                <a:gd name="connsiteX3" fmla="*/ 1108632 w 1110604"/>
                <a:gd name="connsiteY3" fmla="*/ 250934 h 1324619"/>
                <a:gd name="connsiteX4" fmla="*/ 1103869 w 1110604"/>
                <a:gd name="connsiteY4" fmla="*/ 1127622 h 1324619"/>
                <a:gd name="connsiteX5" fmla="*/ 970393 w 1110604"/>
                <a:gd name="connsiteY5" fmla="*/ 1294436 h 1324619"/>
                <a:gd name="connsiteX6" fmla="*/ 222194 w 1110604"/>
                <a:gd name="connsiteY6" fmla="*/ 1323011 h 1324619"/>
                <a:gd name="connsiteX7" fmla="*/ 7755 w 1110604"/>
                <a:gd name="connsiteY7" fmla="*/ 1089522 h 1324619"/>
                <a:gd name="connsiteX8" fmla="*/ 2993 w 1110604"/>
                <a:gd name="connsiteY8" fmla="*/ 169971 h 1324619"/>
                <a:gd name="connsiteX0" fmla="*/ 2993 w 1110604"/>
                <a:gd name="connsiteY0" fmla="*/ 169971 h 1324619"/>
                <a:gd name="connsiteX1" fmla="*/ 160282 w 1110604"/>
                <a:gd name="connsiteY1" fmla="*/ 7920 h 1324619"/>
                <a:gd name="connsiteX2" fmla="*/ 960867 w 1110604"/>
                <a:gd name="connsiteY2" fmla="*/ 17444 h 1324619"/>
                <a:gd name="connsiteX3" fmla="*/ 1108632 w 1110604"/>
                <a:gd name="connsiteY3" fmla="*/ 250934 h 1324619"/>
                <a:gd name="connsiteX4" fmla="*/ 1103869 w 1110604"/>
                <a:gd name="connsiteY4" fmla="*/ 1127622 h 1324619"/>
                <a:gd name="connsiteX5" fmla="*/ 970393 w 1110604"/>
                <a:gd name="connsiteY5" fmla="*/ 1294436 h 1324619"/>
                <a:gd name="connsiteX6" fmla="*/ 222194 w 1110604"/>
                <a:gd name="connsiteY6" fmla="*/ 1323011 h 1324619"/>
                <a:gd name="connsiteX7" fmla="*/ 7755 w 1110604"/>
                <a:gd name="connsiteY7" fmla="*/ 1089522 h 1324619"/>
                <a:gd name="connsiteX8" fmla="*/ 2993 w 1110604"/>
                <a:gd name="connsiteY8" fmla="*/ 169971 h 1324619"/>
                <a:gd name="connsiteX0" fmla="*/ 2993 w 1110604"/>
                <a:gd name="connsiteY0" fmla="*/ 168534 h 1323182"/>
                <a:gd name="connsiteX1" fmla="*/ 160282 w 1110604"/>
                <a:gd name="connsiteY1" fmla="*/ 6483 h 1323182"/>
                <a:gd name="connsiteX2" fmla="*/ 960867 w 1110604"/>
                <a:gd name="connsiteY2" fmla="*/ 16007 h 1323182"/>
                <a:gd name="connsiteX3" fmla="*/ 1108632 w 1110604"/>
                <a:gd name="connsiteY3" fmla="*/ 249497 h 1323182"/>
                <a:gd name="connsiteX4" fmla="*/ 1103869 w 1110604"/>
                <a:gd name="connsiteY4" fmla="*/ 1126185 h 1323182"/>
                <a:gd name="connsiteX5" fmla="*/ 970393 w 1110604"/>
                <a:gd name="connsiteY5" fmla="*/ 1292999 h 1323182"/>
                <a:gd name="connsiteX6" fmla="*/ 222194 w 1110604"/>
                <a:gd name="connsiteY6" fmla="*/ 1321574 h 1323182"/>
                <a:gd name="connsiteX7" fmla="*/ 7755 w 1110604"/>
                <a:gd name="connsiteY7" fmla="*/ 1088085 h 1323182"/>
                <a:gd name="connsiteX8" fmla="*/ 2993 w 1110604"/>
                <a:gd name="connsiteY8" fmla="*/ 168534 h 1323182"/>
                <a:gd name="connsiteX0" fmla="*/ 2993 w 1110604"/>
                <a:gd name="connsiteY0" fmla="*/ 171942 h 1326590"/>
                <a:gd name="connsiteX1" fmla="*/ 155519 w 1110604"/>
                <a:gd name="connsiteY1" fmla="*/ 5128 h 1326590"/>
                <a:gd name="connsiteX2" fmla="*/ 960867 w 1110604"/>
                <a:gd name="connsiteY2" fmla="*/ 19415 h 1326590"/>
                <a:gd name="connsiteX3" fmla="*/ 1108632 w 1110604"/>
                <a:gd name="connsiteY3" fmla="*/ 252905 h 1326590"/>
                <a:gd name="connsiteX4" fmla="*/ 1103869 w 1110604"/>
                <a:gd name="connsiteY4" fmla="*/ 1129593 h 1326590"/>
                <a:gd name="connsiteX5" fmla="*/ 970393 w 1110604"/>
                <a:gd name="connsiteY5" fmla="*/ 1296407 h 1326590"/>
                <a:gd name="connsiteX6" fmla="*/ 222194 w 1110604"/>
                <a:gd name="connsiteY6" fmla="*/ 1324982 h 1326590"/>
                <a:gd name="connsiteX7" fmla="*/ 7755 w 1110604"/>
                <a:gd name="connsiteY7" fmla="*/ 1091493 h 1326590"/>
                <a:gd name="connsiteX8" fmla="*/ 2993 w 1110604"/>
                <a:gd name="connsiteY8" fmla="*/ 171942 h 1326590"/>
                <a:gd name="connsiteX0" fmla="*/ 2993 w 1110604"/>
                <a:gd name="connsiteY0" fmla="*/ 169833 h 1324481"/>
                <a:gd name="connsiteX1" fmla="*/ 155519 w 1110604"/>
                <a:gd name="connsiteY1" fmla="*/ 3019 h 1324481"/>
                <a:gd name="connsiteX2" fmla="*/ 960867 w 1110604"/>
                <a:gd name="connsiteY2" fmla="*/ 17306 h 1324481"/>
                <a:gd name="connsiteX3" fmla="*/ 1108632 w 1110604"/>
                <a:gd name="connsiteY3" fmla="*/ 250796 h 1324481"/>
                <a:gd name="connsiteX4" fmla="*/ 1103869 w 1110604"/>
                <a:gd name="connsiteY4" fmla="*/ 1127484 h 1324481"/>
                <a:gd name="connsiteX5" fmla="*/ 970393 w 1110604"/>
                <a:gd name="connsiteY5" fmla="*/ 1294298 h 1324481"/>
                <a:gd name="connsiteX6" fmla="*/ 222194 w 1110604"/>
                <a:gd name="connsiteY6" fmla="*/ 1322873 h 1324481"/>
                <a:gd name="connsiteX7" fmla="*/ 7755 w 1110604"/>
                <a:gd name="connsiteY7" fmla="*/ 1089384 h 1324481"/>
                <a:gd name="connsiteX8" fmla="*/ 2993 w 1110604"/>
                <a:gd name="connsiteY8" fmla="*/ 169833 h 1324481"/>
                <a:gd name="connsiteX0" fmla="*/ 7014 w 1114625"/>
                <a:gd name="connsiteY0" fmla="*/ 169833 h 1324481"/>
                <a:gd name="connsiteX1" fmla="*/ 159540 w 1114625"/>
                <a:gd name="connsiteY1" fmla="*/ 3019 h 1324481"/>
                <a:gd name="connsiteX2" fmla="*/ 964888 w 1114625"/>
                <a:gd name="connsiteY2" fmla="*/ 17306 h 1324481"/>
                <a:gd name="connsiteX3" fmla="*/ 1112653 w 1114625"/>
                <a:gd name="connsiteY3" fmla="*/ 250796 h 1324481"/>
                <a:gd name="connsiteX4" fmla="*/ 1107890 w 1114625"/>
                <a:gd name="connsiteY4" fmla="*/ 1127484 h 1324481"/>
                <a:gd name="connsiteX5" fmla="*/ 974414 w 1114625"/>
                <a:gd name="connsiteY5" fmla="*/ 1294298 h 1324481"/>
                <a:gd name="connsiteX6" fmla="*/ 226215 w 1114625"/>
                <a:gd name="connsiteY6" fmla="*/ 1322873 h 1324481"/>
                <a:gd name="connsiteX7" fmla="*/ 11776 w 1114625"/>
                <a:gd name="connsiteY7" fmla="*/ 1089384 h 1324481"/>
                <a:gd name="connsiteX8" fmla="*/ 7014 w 1114625"/>
                <a:gd name="connsiteY8" fmla="*/ 169833 h 1324481"/>
                <a:gd name="connsiteX0" fmla="*/ 7014 w 1114625"/>
                <a:gd name="connsiteY0" fmla="*/ 169833 h 1324481"/>
                <a:gd name="connsiteX1" fmla="*/ 159540 w 1114625"/>
                <a:gd name="connsiteY1" fmla="*/ 3019 h 1324481"/>
                <a:gd name="connsiteX2" fmla="*/ 964888 w 1114625"/>
                <a:gd name="connsiteY2" fmla="*/ 17306 h 1324481"/>
                <a:gd name="connsiteX3" fmla="*/ 1112653 w 1114625"/>
                <a:gd name="connsiteY3" fmla="*/ 250796 h 1324481"/>
                <a:gd name="connsiteX4" fmla="*/ 1107890 w 1114625"/>
                <a:gd name="connsiteY4" fmla="*/ 1127484 h 1324481"/>
                <a:gd name="connsiteX5" fmla="*/ 974414 w 1114625"/>
                <a:gd name="connsiteY5" fmla="*/ 1294298 h 1324481"/>
                <a:gd name="connsiteX6" fmla="*/ 226215 w 1114625"/>
                <a:gd name="connsiteY6" fmla="*/ 1322873 h 1324481"/>
                <a:gd name="connsiteX7" fmla="*/ 11776 w 1114625"/>
                <a:gd name="connsiteY7" fmla="*/ 1089384 h 1324481"/>
                <a:gd name="connsiteX8" fmla="*/ 7014 w 1114625"/>
                <a:gd name="connsiteY8" fmla="*/ 169833 h 1324481"/>
                <a:gd name="connsiteX0" fmla="*/ 7014 w 1114625"/>
                <a:gd name="connsiteY0" fmla="*/ 169833 h 1324481"/>
                <a:gd name="connsiteX1" fmla="*/ 159540 w 1114625"/>
                <a:gd name="connsiteY1" fmla="*/ 3019 h 1324481"/>
                <a:gd name="connsiteX2" fmla="*/ 964888 w 1114625"/>
                <a:gd name="connsiteY2" fmla="*/ 17306 h 1324481"/>
                <a:gd name="connsiteX3" fmla="*/ 1112653 w 1114625"/>
                <a:gd name="connsiteY3" fmla="*/ 250796 h 1324481"/>
                <a:gd name="connsiteX4" fmla="*/ 1107890 w 1114625"/>
                <a:gd name="connsiteY4" fmla="*/ 1127484 h 1324481"/>
                <a:gd name="connsiteX5" fmla="*/ 974414 w 1114625"/>
                <a:gd name="connsiteY5" fmla="*/ 1294298 h 1324481"/>
                <a:gd name="connsiteX6" fmla="*/ 226215 w 1114625"/>
                <a:gd name="connsiteY6" fmla="*/ 1322873 h 1324481"/>
                <a:gd name="connsiteX7" fmla="*/ 11776 w 1114625"/>
                <a:gd name="connsiteY7" fmla="*/ 1089384 h 1324481"/>
                <a:gd name="connsiteX8" fmla="*/ 7014 w 1114625"/>
                <a:gd name="connsiteY8" fmla="*/ 169833 h 1324481"/>
                <a:gd name="connsiteX0" fmla="*/ 7014 w 1114625"/>
                <a:gd name="connsiteY0" fmla="*/ 169833 h 1324481"/>
                <a:gd name="connsiteX1" fmla="*/ 159540 w 1114625"/>
                <a:gd name="connsiteY1" fmla="*/ 3019 h 1324481"/>
                <a:gd name="connsiteX2" fmla="*/ 964888 w 1114625"/>
                <a:gd name="connsiteY2" fmla="*/ 17306 h 1324481"/>
                <a:gd name="connsiteX3" fmla="*/ 1112653 w 1114625"/>
                <a:gd name="connsiteY3" fmla="*/ 250796 h 1324481"/>
                <a:gd name="connsiteX4" fmla="*/ 1107890 w 1114625"/>
                <a:gd name="connsiteY4" fmla="*/ 1127484 h 1324481"/>
                <a:gd name="connsiteX5" fmla="*/ 974414 w 1114625"/>
                <a:gd name="connsiteY5" fmla="*/ 1294298 h 1324481"/>
                <a:gd name="connsiteX6" fmla="*/ 226215 w 1114625"/>
                <a:gd name="connsiteY6" fmla="*/ 1322873 h 1324481"/>
                <a:gd name="connsiteX7" fmla="*/ 11776 w 1114625"/>
                <a:gd name="connsiteY7" fmla="*/ 1089384 h 1324481"/>
                <a:gd name="connsiteX8" fmla="*/ 7014 w 1114625"/>
                <a:gd name="connsiteY8" fmla="*/ 169833 h 1324481"/>
                <a:gd name="connsiteX0" fmla="*/ 7014 w 1114625"/>
                <a:gd name="connsiteY0" fmla="*/ 169833 h 1304047"/>
                <a:gd name="connsiteX1" fmla="*/ 159540 w 1114625"/>
                <a:gd name="connsiteY1" fmla="*/ 3019 h 1304047"/>
                <a:gd name="connsiteX2" fmla="*/ 964888 w 1114625"/>
                <a:gd name="connsiteY2" fmla="*/ 17306 h 1304047"/>
                <a:gd name="connsiteX3" fmla="*/ 1112653 w 1114625"/>
                <a:gd name="connsiteY3" fmla="*/ 250796 h 1304047"/>
                <a:gd name="connsiteX4" fmla="*/ 1107890 w 1114625"/>
                <a:gd name="connsiteY4" fmla="*/ 1127484 h 1304047"/>
                <a:gd name="connsiteX5" fmla="*/ 974414 w 1114625"/>
                <a:gd name="connsiteY5" fmla="*/ 1294298 h 1304047"/>
                <a:gd name="connsiteX6" fmla="*/ 202403 w 1114625"/>
                <a:gd name="connsiteY6" fmla="*/ 1275248 h 1304047"/>
                <a:gd name="connsiteX7" fmla="*/ 11776 w 1114625"/>
                <a:gd name="connsiteY7" fmla="*/ 1089384 h 1304047"/>
                <a:gd name="connsiteX8" fmla="*/ 7014 w 1114625"/>
                <a:gd name="connsiteY8" fmla="*/ 169833 h 1304047"/>
                <a:gd name="connsiteX0" fmla="*/ 7014 w 1114625"/>
                <a:gd name="connsiteY0" fmla="*/ 169833 h 1278847"/>
                <a:gd name="connsiteX1" fmla="*/ 159540 w 1114625"/>
                <a:gd name="connsiteY1" fmla="*/ 3019 h 1278847"/>
                <a:gd name="connsiteX2" fmla="*/ 964888 w 1114625"/>
                <a:gd name="connsiteY2" fmla="*/ 17306 h 1278847"/>
                <a:gd name="connsiteX3" fmla="*/ 1112653 w 1114625"/>
                <a:gd name="connsiteY3" fmla="*/ 250796 h 1278847"/>
                <a:gd name="connsiteX4" fmla="*/ 1107890 w 1114625"/>
                <a:gd name="connsiteY4" fmla="*/ 1127484 h 1278847"/>
                <a:gd name="connsiteX5" fmla="*/ 974414 w 1114625"/>
                <a:gd name="connsiteY5" fmla="*/ 1256198 h 1278847"/>
                <a:gd name="connsiteX6" fmla="*/ 202403 w 1114625"/>
                <a:gd name="connsiteY6" fmla="*/ 1275248 h 1278847"/>
                <a:gd name="connsiteX7" fmla="*/ 11776 w 1114625"/>
                <a:gd name="connsiteY7" fmla="*/ 1089384 h 1278847"/>
                <a:gd name="connsiteX8" fmla="*/ 7014 w 1114625"/>
                <a:gd name="connsiteY8" fmla="*/ 169833 h 1278847"/>
                <a:gd name="connsiteX0" fmla="*/ 7014 w 1114625"/>
                <a:gd name="connsiteY0" fmla="*/ 169833 h 1278847"/>
                <a:gd name="connsiteX1" fmla="*/ 159540 w 1114625"/>
                <a:gd name="connsiteY1" fmla="*/ 3019 h 1278847"/>
                <a:gd name="connsiteX2" fmla="*/ 964888 w 1114625"/>
                <a:gd name="connsiteY2" fmla="*/ 17306 h 1278847"/>
                <a:gd name="connsiteX3" fmla="*/ 1112653 w 1114625"/>
                <a:gd name="connsiteY3" fmla="*/ 250796 h 1278847"/>
                <a:gd name="connsiteX4" fmla="*/ 1107890 w 1114625"/>
                <a:gd name="connsiteY4" fmla="*/ 1094146 h 1278847"/>
                <a:gd name="connsiteX5" fmla="*/ 974414 w 1114625"/>
                <a:gd name="connsiteY5" fmla="*/ 1256198 h 1278847"/>
                <a:gd name="connsiteX6" fmla="*/ 202403 w 1114625"/>
                <a:gd name="connsiteY6" fmla="*/ 1275248 h 1278847"/>
                <a:gd name="connsiteX7" fmla="*/ 11776 w 1114625"/>
                <a:gd name="connsiteY7" fmla="*/ 1089384 h 1278847"/>
                <a:gd name="connsiteX8" fmla="*/ 7014 w 1114625"/>
                <a:gd name="connsiteY8" fmla="*/ 169833 h 1278847"/>
                <a:gd name="connsiteX0" fmla="*/ 7014 w 1119387"/>
                <a:gd name="connsiteY0" fmla="*/ 169833 h 1278847"/>
                <a:gd name="connsiteX1" fmla="*/ 159540 w 1119387"/>
                <a:gd name="connsiteY1" fmla="*/ 3019 h 1278847"/>
                <a:gd name="connsiteX2" fmla="*/ 964888 w 1119387"/>
                <a:gd name="connsiteY2" fmla="*/ 17306 h 1278847"/>
                <a:gd name="connsiteX3" fmla="*/ 1112653 w 1119387"/>
                <a:gd name="connsiteY3" fmla="*/ 250796 h 1278847"/>
                <a:gd name="connsiteX4" fmla="*/ 1117415 w 1119387"/>
                <a:gd name="connsiteY4" fmla="*/ 1075096 h 1278847"/>
                <a:gd name="connsiteX5" fmla="*/ 974414 w 1119387"/>
                <a:gd name="connsiteY5" fmla="*/ 1256198 h 1278847"/>
                <a:gd name="connsiteX6" fmla="*/ 202403 w 1119387"/>
                <a:gd name="connsiteY6" fmla="*/ 1275248 h 1278847"/>
                <a:gd name="connsiteX7" fmla="*/ 11776 w 1119387"/>
                <a:gd name="connsiteY7" fmla="*/ 1089384 h 1278847"/>
                <a:gd name="connsiteX8" fmla="*/ 7014 w 1119387"/>
                <a:gd name="connsiteY8" fmla="*/ 169833 h 1278847"/>
                <a:gd name="connsiteX0" fmla="*/ 7014 w 1119387"/>
                <a:gd name="connsiteY0" fmla="*/ 169833 h 1278847"/>
                <a:gd name="connsiteX1" fmla="*/ 159540 w 1119387"/>
                <a:gd name="connsiteY1" fmla="*/ 3019 h 1278847"/>
                <a:gd name="connsiteX2" fmla="*/ 964888 w 1119387"/>
                <a:gd name="connsiteY2" fmla="*/ 17306 h 1278847"/>
                <a:gd name="connsiteX3" fmla="*/ 1112653 w 1119387"/>
                <a:gd name="connsiteY3" fmla="*/ 250796 h 1278847"/>
                <a:gd name="connsiteX4" fmla="*/ 1117415 w 1119387"/>
                <a:gd name="connsiteY4" fmla="*/ 1075096 h 1278847"/>
                <a:gd name="connsiteX5" fmla="*/ 974414 w 1119387"/>
                <a:gd name="connsiteY5" fmla="*/ 1256198 h 1278847"/>
                <a:gd name="connsiteX6" fmla="*/ 202403 w 1119387"/>
                <a:gd name="connsiteY6" fmla="*/ 1275248 h 1278847"/>
                <a:gd name="connsiteX7" fmla="*/ 11776 w 1119387"/>
                <a:gd name="connsiteY7" fmla="*/ 1089384 h 1278847"/>
                <a:gd name="connsiteX8" fmla="*/ 7014 w 1119387"/>
                <a:gd name="connsiteY8" fmla="*/ 169833 h 1278847"/>
                <a:gd name="connsiteX0" fmla="*/ 7014 w 1119387"/>
                <a:gd name="connsiteY0" fmla="*/ 183415 h 1292429"/>
                <a:gd name="connsiteX1" fmla="*/ 159540 w 1119387"/>
                <a:gd name="connsiteY1" fmla="*/ 16601 h 1292429"/>
                <a:gd name="connsiteX2" fmla="*/ 806996 w 1119387"/>
                <a:gd name="connsiteY2" fmla="*/ 6805 h 1292429"/>
                <a:gd name="connsiteX3" fmla="*/ 1112653 w 1119387"/>
                <a:gd name="connsiteY3" fmla="*/ 264378 h 1292429"/>
                <a:gd name="connsiteX4" fmla="*/ 1117415 w 1119387"/>
                <a:gd name="connsiteY4" fmla="*/ 1088678 h 1292429"/>
                <a:gd name="connsiteX5" fmla="*/ 974414 w 1119387"/>
                <a:gd name="connsiteY5" fmla="*/ 1269780 h 1292429"/>
                <a:gd name="connsiteX6" fmla="*/ 202403 w 1119387"/>
                <a:gd name="connsiteY6" fmla="*/ 1288830 h 1292429"/>
                <a:gd name="connsiteX7" fmla="*/ 11776 w 1119387"/>
                <a:gd name="connsiteY7" fmla="*/ 1102966 h 1292429"/>
                <a:gd name="connsiteX8" fmla="*/ 7014 w 1119387"/>
                <a:gd name="connsiteY8" fmla="*/ 183415 h 1292429"/>
                <a:gd name="connsiteX0" fmla="*/ 7014 w 1119387"/>
                <a:gd name="connsiteY0" fmla="*/ 183416 h 1292430"/>
                <a:gd name="connsiteX1" fmla="*/ 159540 w 1119387"/>
                <a:gd name="connsiteY1" fmla="*/ 16602 h 1292430"/>
                <a:gd name="connsiteX2" fmla="*/ 806996 w 1119387"/>
                <a:gd name="connsiteY2" fmla="*/ 6806 h 1292430"/>
                <a:gd name="connsiteX3" fmla="*/ 1112653 w 1119387"/>
                <a:gd name="connsiteY3" fmla="*/ 264379 h 1292430"/>
                <a:gd name="connsiteX4" fmla="*/ 1117415 w 1119387"/>
                <a:gd name="connsiteY4" fmla="*/ 1088679 h 1292430"/>
                <a:gd name="connsiteX5" fmla="*/ 974414 w 1119387"/>
                <a:gd name="connsiteY5" fmla="*/ 1269781 h 1292430"/>
                <a:gd name="connsiteX6" fmla="*/ 202403 w 1119387"/>
                <a:gd name="connsiteY6" fmla="*/ 1288831 h 1292430"/>
                <a:gd name="connsiteX7" fmla="*/ 11776 w 1119387"/>
                <a:gd name="connsiteY7" fmla="*/ 1102967 h 1292430"/>
                <a:gd name="connsiteX8" fmla="*/ 7014 w 1119387"/>
                <a:gd name="connsiteY8" fmla="*/ 183416 h 1292430"/>
                <a:gd name="connsiteX0" fmla="*/ 7014 w 1119387"/>
                <a:gd name="connsiteY0" fmla="*/ 183416 h 1292430"/>
                <a:gd name="connsiteX1" fmla="*/ 159540 w 1119387"/>
                <a:gd name="connsiteY1" fmla="*/ 16602 h 1292430"/>
                <a:gd name="connsiteX2" fmla="*/ 806996 w 1119387"/>
                <a:gd name="connsiteY2" fmla="*/ 6806 h 1292430"/>
                <a:gd name="connsiteX3" fmla="*/ 1112653 w 1119387"/>
                <a:gd name="connsiteY3" fmla="*/ 264379 h 1292430"/>
                <a:gd name="connsiteX4" fmla="*/ 1117415 w 1119387"/>
                <a:gd name="connsiteY4" fmla="*/ 1088679 h 1292430"/>
                <a:gd name="connsiteX5" fmla="*/ 974414 w 1119387"/>
                <a:gd name="connsiteY5" fmla="*/ 1269781 h 1292430"/>
                <a:gd name="connsiteX6" fmla="*/ 202403 w 1119387"/>
                <a:gd name="connsiteY6" fmla="*/ 1288831 h 1292430"/>
                <a:gd name="connsiteX7" fmla="*/ 11776 w 1119387"/>
                <a:gd name="connsiteY7" fmla="*/ 1102967 h 1292430"/>
                <a:gd name="connsiteX8" fmla="*/ 7014 w 1119387"/>
                <a:gd name="connsiteY8" fmla="*/ 183416 h 1292430"/>
                <a:gd name="connsiteX0" fmla="*/ 7014 w 1119387"/>
                <a:gd name="connsiteY0" fmla="*/ 183416 h 1292430"/>
                <a:gd name="connsiteX1" fmla="*/ 159540 w 1119387"/>
                <a:gd name="connsiteY1" fmla="*/ 16602 h 1292430"/>
                <a:gd name="connsiteX2" fmla="*/ 806996 w 1119387"/>
                <a:gd name="connsiteY2" fmla="*/ 6806 h 1292430"/>
                <a:gd name="connsiteX3" fmla="*/ 1112653 w 1119387"/>
                <a:gd name="connsiteY3" fmla="*/ 264379 h 1292430"/>
                <a:gd name="connsiteX4" fmla="*/ 1117415 w 1119387"/>
                <a:gd name="connsiteY4" fmla="*/ 1088679 h 1292430"/>
                <a:gd name="connsiteX5" fmla="*/ 974414 w 1119387"/>
                <a:gd name="connsiteY5" fmla="*/ 1269781 h 1292430"/>
                <a:gd name="connsiteX6" fmla="*/ 202403 w 1119387"/>
                <a:gd name="connsiteY6" fmla="*/ 1288831 h 1292430"/>
                <a:gd name="connsiteX7" fmla="*/ 11776 w 1119387"/>
                <a:gd name="connsiteY7" fmla="*/ 1102967 h 1292430"/>
                <a:gd name="connsiteX8" fmla="*/ 7014 w 1119387"/>
                <a:gd name="connsiteY8" fmla="*/ 183416 h 1292430"/>
                <a:gd name="connsiteX0" fmla="*/ 7014 w 1119387"/>
                <a:gd name="connsiteY0" fmla="*/ 183416 h 1292430"/>
                <a:gd name="connsiteX1" fmla="*/ 159540 w 1119387"/>
                <a:gd name="connsiteY1" fmla="*/ 16602 h 1292430"/>
                <a:gd name="connsiteX2" fmla="*/ 806996 w 1119387"/>
                <a:gd name="connsiteY2" fmla="*/ 6806 h 1292430"/>
                <a:gd name="connsiteX3" fmla="*/ 1112653 w 1119387"/>
                <a:gd name="connsiteY3" fmla="*/ 264379 h 1292430"/>
                <a:gd name="connsiteX4" fmla="*/ 1117415 w 1119387"/>
                <a:gd name="connsiteY4" fmla="*/ 1088679 h 1292430"/>
                <a:gd name="connsiteX5" fmla="*/ 974414 w 1119387"/>
                <a:gd name="connsiteY5" fmla="*/ 1269781 h 1292430"/>
                <a:gd name="connsiteX6" fmla="*/ 202403 w 1119387"/>
                <a:gd name="connsiteY6" fmla="*/ 1288831 h 1292430"/>
                <a:gd name="connsiteX7" fmla="*/ 11776 w 1119387"/>
                <a:gd name="connsiteY7" fmla="*/ 1102967 h 1292430"/>
                <a:gd name="connsiteX8" fmla="*/ 7014 w 1119387"/>
                <a:gd name="connsiteY8" fmla="*/ 183416 h 1292430"/>
                <a:gd name="connsiteX0" fmla="*/ 7014 w 1119387"/>
                <a:gd name="connsiteY0" fmla="*/ 188678 h 1297692"/>
                <a:gd name="connsiteX1" fmla="*/ 249764 w 1119387"/>
                <a:gd name="connsiteY1" fmla="*/ 5808 h 1297692"/>
                <a:gd name="connsiteX2" fmla="*/ 806996 w 1119387"/>
                <a:gd name="connsiteY2" fmla="*/ 12068 h 1297692"/>
                <a:gd name="connsiteX3" fmla="*/ 1112653 w 1119387"/>
                <a:gd name="connsiteY3" fmla="*/ 269641 h 1297692"/>
                <a:gd name="connsiteX4" fmla="*/ 1117415 w 1119387"/>
                <a:gd name="connsiteY4" fmla="*/ 1093941 h 1297692"/>
                <a:gd name="connsiteX5" fmla="*/ 974414 w 1119387"/>
                <a:gd name="connsiteY5" fmla="*/ 1275043 h 1297692"/>
                <a:gd name="connsiteX6" fmla="*/ 202403 w 1119387"/>
                <a:gd name="connsiteY6" fmla="*/ 1294093 h 1297692"/>
                <a:gd name="connsiteX7" fmla="*/ 11776 w 1119387"/>
                <a:gd name="connsiteY7" fmla="*/ 1108229 h 1297692"/>
                <a:gd name="connsiteX8" fmla="*/ 7014 w 1119387"/>
                <a:gd name="connsiteY8" fmla="*/ 188678 h 1297692"/>
                <a:gd name="connsiteX0" fmla="*/ 7014 w 1119387"/>
                <a:gd name="connsiteY0" fmla="*/ 188678 h 1297692"/>
                <a:gd name="connsiteX1" fmla="*/ 249764 w 1119387"/>
                <a:gd name="connsiteY1" fmla="*/ 5808 h 1297692"/>
                <a:gd name="connsiteX2" fmla="*/ 806996 w 1119387"/>
                <a:gd name="connsiteY2" fmla="*/ 12068 h 1297692"/>
                <a:gd name="connsiteX3" fmla="*/ 1112653 w 1119387"/>
                <a:gd name="connsiteY3" fmla="*/ 269641 h 1297692"/>
                <a:gd name="connsiteX4" fmla="*/ 1117415 w 1119387"/>
                <a:gd name="connsiteY4" fmla="*/ 1093941 h 1297692"/>
                <a:gd name="connsiteX5" fmla="*/ 974414 w 1119387"/>
                <a:gd name="connsiteY5" fmla="*/ 1275043 h 1297692"/>
                <a:gd name="connsiteX6" fmla="*/ 202403 w 1119387"/>
                <a:gd name="connsiteY6" fmla="*/ 1294093 h 1297692"/>
                <a:gd name="connsiteX7" fmla="*/ 11776 w 1119387"/>
                <a:gd name="connsiteY7" fmla="*/ 1108229 h 1297692"/>
                <a:gd name="connsiteX8" fmla="*/ 7014 w 1119387"/>
                <a:gd name="connsiteY8" fmla="*/ 188678 h 1297692"/>
                <a:gd name="connsiteX0" fmla="*/ 1461 w 1181503"/>
                <a:gd name="connsiteY0" fmla="*/ 220789 h 1297692"/>
                <a:gd name="connsiteX1" fmla="*/ 311880 w 1181503"/>
                <a:gd name="connsiteY1" fmla="*/ 5808 h 1297692"/>
                <a:gd name="connsiteX2" fmla="*/ 869112 w 1181503"/>
                <a:gd name="connsiteY2" fmla="*/ 12068 h 1297692"/>
                <a:gd name="connsiteX3" fmla="*/ 1174769 w 1181503"/>
                <a:gd name="connsiteY3" fmla="*/ 269641 h 1297692"/>
                <a:gd name="connsiteX4" fmla="*/ 1179531 w 1181503"/>
                <a:gd name="connsiteY4" fmla="*/ 1093941 h 1297692"/>
                <a:gd name="connsiteX5" fmla="*/ 1036530 w 1181503"/>
                <a:gd name="connsiteY5" fmla="*/ 1275043 h 1297692"/>
                <a:gd name="connsiteX6" fmla="*/ 264519 w 1181503"/>
                <a:gd name="connsiteY6" fmla="*/ 1294093 h 1297692"/>
                <a:gd name="connsiteX7" fmla="*/ 73892 w 1181503"/>
                <a:gd name="connsiteY7" fmla="*/ 1108229 h 1297692"/>
                <a:gd name="connsiteX8" fmla="*/ 1461 w 1181503"/>
                <a:gd name="connsiteY8" fmla="*/ 220789 h 1297692"/>
                <a:gd name="connsiteX0" fmla="*/ 1461 w 1181503"/>
                <a:gd name="connsiteY0" fmla="*/ 220789 h 1297692"/>
                <a:gd name="connsiteX1" fmla="*/ 311880 w 1181503"/>
                <a:gd name="connsiteY1" fmla="*/ 5808 h 1297692"/>
                <a:gd name="connsiteX2" fmla="*/ 869112 w 1181503"/>
                <a:gd name="connsiteY2" fmla="*/ 12068 h 1297692"/>
                <a:gd name="connsiteX3" fmla="*/ 1174769 w 1181503"/>
                <a:gd name="connsiteY3" fmla="*/ 269641 h 1297692"/>
                <a:gd name="connsiteX4" fmla="*/ 1179531 w 1181503"/>
                <a:gd name="connsiteY4" fmla="*/ 1093941 h 1297692"/>
                <a:gd name="connsiteX5" fmla="*/ 1036530 w 1181503"/>
                <a:gd name="connsiteY5" fmla="*/ 1275043 h 1297692"/>
                <a:gd name="connsiteX6" fmla="*/ 264519 w 1181503"/>
                <a:gd name="connsiteY6" fmla="*/ 1294093 h 1297692"/>
                <a:gd name="connsiteX7" fmla="*/ 73892 w 1181503"/>
                <a:gd name="connsiteY7" fmla="*/ 1108229 h 1297692"/>
                <a:gd name="connsiteX8" fmla="*/ 1461 w 1181503"/>
                <a:gd name="connsiteY8" fmla="*/ 220789 h 1297692"/>
                <a:gd name="connsiteX0" fmla="*/ 1688 w 1170457"/>
                <a:gd name="connsiteY0" fmla="*/ 244873 h 1297692"/>
                <a:gd name="connsiteX1" fmla="*/ 300834 w 1170457"/>
                <a:gd name="connsiteY1" fmla="*/ 5808 h 1297692"/>
                <a:gd name="connsiteX2" fmla="*/ 858066 w 1170457"/>
                <a:gd name="connsiteY2" fmla="*/ 12068 h 1297692"/>
                <a:gd name="connsiteX3" fmla="*/ 1163723 w 1170457"/>
                <a:gd name="connsiteY3" fmla="*/ 269641 h 1297692"/>
                <a:gd name="connsiteX4" fmla="*/ 1168485 w 1170457"/>
                <a:gd name="connsiteY4" fmla="*/ 1093941 h 1297692"/>
                <a:gd name="connsiteX5" fmla="*/ 1025484 w 1170457"/>
                <a:gd name="connsiteY5" fmla="*/ 1275043 h 1297692"/>
                <a:gd name="connsiteX6" fmla="*/ 253473 w 1170457"/>
                <a:gd name="connsiteY6" fmla="*/ 1294093 h 1297692"/>
                <a:gd name="connsiteX7" fmla="*/ 62846 w 1170457"/>
                <a:gd name="connsiteY7" fmla="*/ 1108229 h 1297692"/>
                <a:gd name="connsiteX8" fmla="*/ 1688 w 1170457"/>
                <a:gd name="connsiteY8" fmla="*/ 244873 h 1297692"/>
                <a:gd name="connsiteX0" fmla="*/ 4415 w 1173184"/>
                <a:gd name="connsiteY0" fmla="*/ 244873 h 1297692"/>
                <a:gd name="connsiteX1" fmla="*/ 303561 w 1173184"/>
                <a:gd name="connsiteY1" fmla="*/ 5808 h 1297692"/>
                <a:gd name="connsiteX2" fmla="*/ 860793 w 1173184"/>
                <a:gd name="connsiteY2" fmla="*/ 12068 h 1297692"/>
                <a:gd name="connsiteX3" fmla="*/ 1166450 w 1173184"/>
                <a:gd name="connsiteY3" fmla="*/ 269641 h 1297692"/>
                <a:gd name="connsiteX4" fmla="*/ 1171212 w 1173184"/>
                <a:gd name="connsiteY4" fmla="*/ 1093941 h 1297692"/>
                <a:gd name="connsiteX5" fmla="*/ 1028211 w 1173184"/>
                <a:gd name="connsiteY5" fmla="*/ 1275043 h 1297692"/>
                <a:gd name="connsiteX6" fmla="*/ 256200 w 1173184"/>
                <a:gd name="connsiteY6" fmla="*/ 1294093 h 1297692"/>
                <a:gd name="connsiteX7" fmla="*/ 20458 w 1173184"/>
                <a:gd name="connsiteY7" fmla="*/ 1076117 h 1297692"/>
                <a:gd name="connsiteX8" fmla="*/ 4415 w 1173184"/>
                <a:gd name="connsiteY8" fmla="*/ 244873 h 1297692"/>
                <a:gd name="connsiteX0" fmla="*/ 9625 w 1178394"/>
                <a:gd name="connsiteY0" fmla="*/ 244873 h 1297692"/>
                <a:gd name="connsiteX1" fmla="*/ 308771 w 1178394"/>
                <a:gd name="connsiteY1" fmla="*/ 5808 h 1297692"/>
                <a:gd name="connsiteX2" fmla="*/ 866003 w 1178394"/>
                <a:gd name="connsiteY2" fmla="*/ 12068 h 1297692"/>
                <a:gd name="connsiteX3" fmla="*/ 1171660 w 1178394"/>
                <a:gd name="connsiteY3" fmla="*/ 269641 h 1297692"/>
                <a:gd name="connsiteX4" fmla="*/ 1176422 w 1178394"/>
                <a:gd name="connsiteY4" fmla="*/ 1093941 h 1297692"/>
                <a:gd name="connsiteX5" fmla="*/ 1033421 w 1178394"/>
                <a:gd name="connsiteY5" fmla="*/ 1275043 h 1297692"/>
                <a:gd name="connsiteX6" fmla="*/ 261410 w 1178394"/>
                <a:gd name="connsiteY6" fmla="*/ 1294093 h 1297692"/>
                <a:gd name="connsiteX7" fmla="*/ 25668 w 1178394"/>
                <a:gd name="connsiteY7" fmla="*/ 1076117 h 1297692"/>
                <a:gd name="connsiteX8" fmla="*/ 9625 w 1178394"/>
                <a:gd name="connsiteY8" fmla="*/ 244873 h 1297692"/>
                <a:gd name="connsiteX0" fmla="*/ 19306 w 1188075"/>
                <a:gd name="connsiteY0" fmla="*/ 244873 h 1297692"/>
                <a:gd name="connsiteX1" fmla="*/ 318452 w 1188075"/>
                <a:gd name="connsiteY1" fmla="*/ 5808 h 1297692"/>
                <a:gd name="connsiteX2" fmla="*/ 875684 w 1188075"/>
                <a:gd name="connsiteY2" fmla="*/ 12068 h 1297692"/>
                <a:gd name="connsiteX3" fmla="*/ 1181341 w 1188075"/>
                <a:gd name="connsiteY3" fmla="*/ 269641 h 1297692"/>
                <a:gd name="connsiteX4" fmla="*/ 1186103 w 1188075"/>
                <a:gd name="connsiteY4" fmla="*/ 1093941 h 1297692"/>
                <a:gd name="connsiteX5" fmla="*/ 1043102 w 1188075"/>
                <a:gd name="connsiteY5" fmla="*/ 1275043 h 1297692"/>
                <a:gd name="connsiteX6" fmla="*/ 271091 w 1188075"/>
                <a:gd name="connsiteY6" fmla="*/ 1294093 h 1297692"/>
                <a:gd name="connsiteX7" fmla="*/ 35349 w 1188075"/>
                <a:gd name="connsiteY7" fmla="*/ 1076117 h 1297692"/>
                <a:gd name="connsiteX8" fmla="*/ 19306 w 1188075"/>
                <a:gd name="connsiteY8" fmla="*/ 244873 h 1297692"/>
                <a:gd name="connsiteX0" fmla="*/ 19306 w 1188075"/>
                <a:gd name="connsiteY0" fmla="*/ 244873 h 1297692"/>
                <a:gd name="connsiteX1" fmla="*/ 318452 w 1188075"/>
                <a:gd name="connsiteY1" fmla="*/ 5808 h 1297692"/>
                <a:gd name="connsiteX2" fmla="*/ 875684 w 1188075"/>
                <a:gd name="connsiteY2" fmla="*/ 12068 h 1297692"/>
                <a:gd name="connsiteX3" fmla="*/ 1181341 w 1188075"/>
                <a:gd name="connsiteY3" fmla="*/ 269641 h 1297692"/>
                <a:gd name="connsiteX4" fmla="*/ 1186103 w 1188075"/>
                <a:gd name="connsiteY4" fmla="*/ 1093941 h 1297692"/>
                <a:gd name="connsiteX5" fmla="*/ 1043102 w 1188075"/>
                <a:gd name="connsiteY5" fmla="*/ 1275043 h 1297692"/>
                <a:gd name="connsiteX6" fmla="*/ 271091 w 1188075"/>
                <a:gd name="connsiteY6" fmla="*/ 1294093 h 1297692"/>
                <a:gd name="connsiteX7" fmla="*/ 35349 w 1188075"/>
                <a:gd name="connsiteY7" fmla="*/ 1076117 h 1297692"/>
                <a:gd name="connsiteX8" fmla="*/ 19306 w 1188075"/>
                <a:gd name="connsiteY8" fmla="*/ 244873 h 1297692"/>
                <a:gd name="connsiteX0" fmla="*/ 19306 w 1188075"/>
                <a:gd name="connsiteY0" fmla="*/ 244873 h 1318897"/>
                <a:gd name="connsiteX1" fmla="*/ 318452 w 1188075"/>
                <a:gd name="connsiteY1" fmla="*/ 5808 h 1318897"/>
                <a:gd name="connsiteX2" fmla="*/ 875684 w 1188075"/>
                <a:gd name="connsiteY2" fmla="*/ 12068 h 1318897"/>
                <a:gd name="connsiteX3" fmla="*/ 1181341 w 1188075"/>
                <a:gd name="connsiteY3" fmla="*/ 269641 h 1318897"/>
                <a:gd name="connsiteX4" fmla="*/ 1186103 w 1188075"/>
                <a:gd name="connsiteY4" fmla="*/ 1093941 h 1318897"/>
                <a:gd name="connsiteX5" fmla="*/ 1043102 w 1188075"/>
                <a:gd name="connsiteY5" fmla="*/ 1275043 h 1318897"/>
                <a:gd name="connsiteX6" fmla="*/ 316199 w 1188075"/>
                <a:gd name="connsiteY6" fmla="*/ 1318176 h 1318897"/>
                <a:gd name="connsiteX7" fmla="*/ 35349 w 1188075"/>
                <a:gd name="connsiteY7" fmla="*/ 1076117 h 1318897"/>
                <a:gd name="connsiteX8" fmla="*/ 19306 w 1188075"/>
                <a:gd name="connsiteY8" fmla="*/ 244873 h 1318897"/>
                <a:gd name="connsiteX0" fmla="*/ 19306 w 1188075"/>
                <a:gd name="connsiteY0" fmla="*/ 244873 h 1318897"/>
                <a:gd name="connsiteX1" fmla="*/ 318452 w 1188075"/>
                <a:gd name="connsiteY1" fmla="*/ 5808 h 1318897"/>
                <a:gd name="connsiteX2" fmla="*/ 875684 w 1188075"/>
                <a:gd name="connsiteY2" fmla="*/ 12068 h 1318897"/>
                <a:gd name="connsiteX3" fmla="*/ 1181341 w 1188075"/>
                <a:gd name="connsiteY3" fmla="*/ 269641 h 1318897"/>
                <a:gd name="connsiteX4" fmla="*/ 1186103 w 1188075"/>
                <a:gd name="connsiteY4" fmla="*/ 1093941 h 1318897"/>
                <a:gd name="connsiteX5" fmla="*/ 1043102 w 1188075"/>
                <a:gd name="connsiteY5" fmla="*/ 1275043 h 1318897"/>
                <a:gd name="connsiteX6" fmla="*/ 316199 w 1188075"/>
                <a:gd name="connsiteY6" fmla="*/ 1318176 h 1318897"/>
                <a:gd name="connsiteX7" fmla="*/ 35349 w 1188075"/>
                <a:gd name="connsiteY7" fmla="*/ 1076117 h 1318897"/>
                <a:gd name="connsiteX8" fmla="*/ 19306 w 1188075"/>
                <a:gd name="connsiteY8" fmla="*/ 244873 h 1318897"/>
                <a:gd name="connsiteX0" fmla="*/ 19306 w 1188075"/>
                <a:gd name="connsiteY0" fmla="*/ 244873 h 1321411"/>
                <a:gd name="connsiteX1" fmla="*/ 318452 w 1188075"/>
                <a:gd name="connsiteY1" fmla="*/ 5808 h 1321411"/>
                <a:gd name="connsiteX2" fmla="*/ 875684 w 1188075"/>
                <a:gd name="connsiteY2" fmla="*/ 12068 h 1321411"/>
                <a:gd name="connsiteX3" fmla="*/ 1181341 w 1188075"/>
                <a:gd name="connsiteY3" fmla="*/ 269641 h 1321411"/>
                <a:gd name="connsiteX4" fmla="*/ 1186103 w 1188075"/>
                <a:gd name="connsiteY4" fmla="*/ 1093941 h 1321411"/>
                <a:gd name="connsiteX5" fmla="*/ 1043102 w 1188075"/>
                <a:gd name="connsiteY5" fmla="*/ 1275043 h 1321411"/>
                <a:gd name="connsiteX6" fmla="*/ 316199 w 1188075"/>
                <a:gd name="connsiteY6" fmla="*/ 1318176 h 1321411"/>
                <a:gd name="connsiteX7" fmla="*/ 35349 w 1188075"/>
                <a:gd name="connsiteY7" fmla="*/ 1076117 h 1321411"/>
                <a:gd name="connsiteX8" fmla="*/ 19306 w 1188075"/>
                <a:gd name="connsiteY8" fmla="*/ 244873 h 1321411"/>
                <a:gd name="connsiteX0" fmla="*/ 19306 w 1188075"/>
                <a:gd name="connsiteY0" fmla="*/ 244873 h 1325315"/>
                <a:gd name="connsiteX1" fmla="*/ 318452 w 1188075"/>
                <a:gd name="connsiteY1" fmla="*/ 5808 h 1325315"/>
                <a:gd name="connsiteX2" fmla="*/ 875684 w 1188075"/>
                <a:gd name="connsiteY2" fmla="*/ 12068 h 1325315"/>
                <a:gd name="connsiteX3" fmla="*/ 1181341 w 1188075"/>
                <a:gd name="connsiteY3" fmla="*/ 269641 h 1325315"/>
                <a:gd name="connsiteX4" fmla="*/ 1186103 w 1188075"/>
                <a:gd name="connsiteY4" fmla="*/ 1093941 h 1325315"/>
                <a:gd name="connsiteX5" fmla="*/ 862656 w 1188075"/>
                <a:gd name="connsiteY5" fmla="*/ 1299127 h 1325315"/>
                <a:gd name="connsiteX6" fmla="*/ 316199 w 1188075"/>
                <a:gd name="connsiteY6" fmla="*/ 1318176 h 1325315"/>
                <a:gd name="connsiteX7" fmla="*/ 35349 w 1188075"/>
                <a:gd name="connsiteY7" fmla="*/ 1076117 h 1325315"/>
                <a:gd name="connsiteX8" fmla="*/ 19306 w 1188075"/>
                <a:gd name="connsiteY8" fmla="*/ 244873 h 1325315"/>
                <a:gd name="connsiteX0" fmla="*/ 19306 w 1188075"/>
                <a:gd name="connsiteY0" fmla="*/ 244873 h 1322378"/>
                <a:gd name="connsiteX1" fmla="*/ 318452 w 1188075"/>
                <a:gd name="connsiteY1" fmla="*/ 5808 h 1322378"/>
                <a:gd name="connsiteX2" fmla="*/ 875684 w 1188075"/>
                <a:gd name="connsiteY2" fmla="*/ 12068 h 1322378"/>
                <a:gd name="connsiteX3" fmla="*/ 1181341 w 1188075"/>
                <a:gd name="connsiteY3" fmla="*/ 269641 h 1322378"/>
                <a:gd name="connsiteX4" fmla="*/ 1186103 w 1188075"/>
                <a:gd name="connsiteY4" fmla="*/ 1093941 h 1322378"/>
                <a:gd name="connsiteX5" fmla="*/ 862656 w 1188075"/>
                <a:gd name="connsiteY5" fmla="*/ 1299127 h 1322378"/>
                <a:gd name="connsiteX6" fmla="*/ 316199 w 1188075"/>
                <a:gd name="connsiteY6" fmla="*/ 1318176 h 1322378"/>
                <a:gd name="connsiteX7" fmla="*/ 35349 w 1188075"/>
                <a:gd name="connsiteY7" fmla="*/ 1076117 h 1322378"/>
                <a:gd name="connsiteX8" fmla="*/ 19306 w 1188075"/>
                <a:gd name="connsiteY8" fmla="*/ 244873 h 1322378"/>
                <a:gd name="connsiteX0" fmla="*/ 19306 w 1188075"/>
                <a:gd name="connsiteY0" fmla="*/ 244873 h 1322378"/>
                <a:gd name="connsiteX1" fmla="*/ 318452 w 1188075"/>
                <a:gd name="connsiteY1" fmla="*/ 5808 h 1322378"/>
                <a:gd name="connsiteX2" fmla="*/ 875684 w 1188075"/>
                <a:gd name="connsiteY2" fmla="*/ 12068 h 1322378"/>
                <a:gd name="connsiteX3" fmla="*/ 1181341 w 1188075"/>
                <a:gd name="connsiteY3" fmla="*/ 269641 h 1322378"/>
                <a:gd name="connsiteX4" fmla="*/ 1186103 w 1188075"/>
                <a:gd name="connsiteY4" fmla="*/ 1093941 h 1322378"/>
                <a:gd name="connsiteX5" fmla="*/ 862656 w 1188075"/>
                <a:gd name="connsiteY5" fmla="*/ 1299127 h 1322378"/>
                <a:gd name="connsiteX6" fmla="*/ 316199 w 1188075"/>
                <a:gd name="connsiteY6" fmla="*/ 1318176 h 1322378"/>
                <a:gd name="connsiteX7" fmla="*/ 35349 w 1188075"/>
                <a:gd name="connsiteY7" fmla="*/ 1076117 h 1322378"/>
                <a:gd name="connsiteX8" fmla="*/ 19306 w 1188075"/>
                <a:gd name="connsiteY8" fmla="*/ 244873 h 1322378"/>
                <a:gd name="connsiteX0" fmla="*/ 19306 w 1198254"/>
                <a:gd name="connsiteY0" fmla="*/ 244873 h 1322378"/>
                <a:gd name="connsiteX1" fmla="*/ 318452 w 1198254"/>
                <a:gd name="connsiteY1" fmla="*/ 5808 h 1322378"/>
                <a:gd name="connsiteX2" fmla="*/ 875684 w 1198254"/>
                <a:gd name="connsiteY2" fmla="*/ 12068 h 1322378"/>
                <a:gd name="connsiteX3" fmla="*/ 1181341 w 1198254"/>
                <a:gd name="connsiteY3" fmla="*/ 269641 h 1322378"/>
                <a:gd name="connsiteX4" fmla="*/ 1197381 w 1198254"/>
                <a:gd name="connsiteY4" fmla="*/ 1005635 h 1322378"/>
                <a:gd name="connsiteX5" fmla="*/ 862656 w 1198254"/>
                <a:gd name="connsiteY5" fmla="*/ 1299127 h 1322378"/>
                <a:gd name="connsiteX6" fmla="*/ 316199 w 1198254"/>
                <a:gd name="connsiteY6" fmla="*/ 1318176 h 1322378"/>
                <a:gd name="connsiteX7" fmla="*/ 35349 w 1198254"/>
                <a:gd name="connsiteY7" fmla="*/ 1076117 h 1322378"/>
                <a:gd name="connsiteX8" fmla="*/ 19306 w 1198254"/>
                <a:gd name="connsiteY8" fmla="*/ 244873 h 1322378"/>
                <a:gd name="connsiteX0" fmla="*/ 19306 w 1198254"/>
                <a:gd name="connsiteY0" fmla="*/ 244873 h 1322378"/>
                <a:gd name="connsiteX1" fmla="*/ 318452 w 1198254"/>
                <a:gd name="connsiteY1" fmla="*/ 5808 h 1322378"/>
                <a:gd name="connsiteX2" fmla="*/ 875684 w 1198254"/>
                <a:gd name="connsiteY2" fmla="*/ 12068 h 1322378"/>
                <a:gd name="connsiteX3" fmla="*/ 1181341 w 1198254"/>
                <a:gd name="connsiteY3" fmla="*/ 269641 h 1322378"/>
                <a:gd name="connsiteX4" fmla="*/ 1197381 w 1198254"/>
                <a:gd name="connsiteY4" fmla="*/ 1005635 h 1322378"/>
                <a:gd name="connsiteX5" fmla="*/ 862656 w 1198254"/>
                <a:gd name="connsiteY5" fmla="*/ 1299127 h 1322378"/>
                <a:gd name="connsiteX6" fmla="*/ 316199 w 1198254"/>
                <a:gd name="connsiteY6" fmla="*/ 1318176 h 1322378"/>
                <a:gd name="connsiteX7" fmla="*/ 35349 w 1198254"/>
                <a:gd name="connsiteY7" fmla="*/ 1076117 h 1322378"/>
                <a:gd name="connsiteX8" fmla="*/ 19306 w 1198254"/>
                <a:gd name="connsiteY8" fmla="*/ 244873 h 1322378"/>
                <a:gd name="connsiteX0" fmla="*/ 19306 w 1198253"/>
                <a:gd name="connsiteY0" fmla="*/ 244873 h 1322378"/>
                <a:gd name="connsiteX1" fmla="*/ 318452 w 1198253"/>
                <a:gd name="connsiteY1" fmla="*/ 5808 h 1322378"/>
                <a:gd name="connsiteX2" fmla="*/ 875684 w 1198253"/>
                <a:gd name="connsiteY2" fmla="*/ 12068 h 1322378"/>
                <a:gd name="connsiteX3" fmla="*/ 1181341 w 1198253"/>
                <a:gd name="connsiteY3" fmla="*/ 269641 h 1322378"/>
                <a:gd name="connsiteX4" fmla="*/ 1197381 w 1198253"/>
                <a:gd name="connsiteY4" fmla="*/ 1005635 h 1322378"/>
                <a:gd name="connsiteX5" fmla="*/ 862656 w 1198253"/>
                <a:gd name="connsiteY5" fmla="*/ 1299127 h 1322378"/>
                <a:gd name="connsiteX6" fmla="*/ 316199 w 1198253"/>
                <a:gd name="connsiteY6" fmla="*/ 1318176 h 1322378"/>
                <a:gd name="connsiteX7" fmla="*/ 35349 w 1198253"/>
                <a:gd name="connsiteY7" fmla="*/ 1076117 h 1322378"/>
                <a:gd name="connsiteX8" fmla="*/ 19306 w 1198253"/>
                <a:gd name="connsiteY8" fmla="*/ 244873 h 1322378"/>
                <a:gd name="connsiteX0" fmla="*/ 19306 w 1198253"/>
                <a:gd name="connsiteY0" fmla="*/ 244873 h 1322378"/>
                <a:gd name="connsiteX1" fmla="*/ 318452 w 1198253"/>
                <a:gd name="connsiteY1" fmla="*/ 5808 h 1322378"/>
                <a:gd name="connsiteX2" fmla="*/ 875684 w 1198253"/>
                <a:gd name="connsiteY2" fmla="*/ 12068 h 1322378"/>
                <a:gd name="connsiteX3" fmla="*/ 1181341 w 1198253"/>
                <a:gd name="connsiteY3" fmla="*/ 269641 h 1322378"/>
                <a:gd name="connsiteX4" fmla="*/ 1197381 w 1198253"/>
                <a:gd name="connsiteY4" fmla="*/ 1005635 h 1322378"/>
                <a:gd name="connsiteX5" fmla="*/ 862656 w 1198253"/>
                <a:gd name="connsiteY5" fmla="*/ 1299127 h 1322378"/>
                <a:gd name="connsiteX6" fmla="*/ 316199 w 1198253"/>
                <a:gd name="connsiteY6" fmla="*/ 1318176 h 1322378"/>
                <a:gd name="connsiteX7" fmla="*/ 35349 w 1198253"/>
                <a:gd name="connsiteY7" fmla="*/ 1076117 h 1322378"/>
                <a:gd name="connsiteX8" fmla="*/ 19306 w 1198253"/>
                <a:gd name="connsiteY8" fmla="*/ 244873 h 1322378"/>
                <a:gd name="connsiteX0" fmla="*/ 19306 w 1198253"/>
                <a:gd name="connsiteY0" fmla="*/ 244873 h 1322378"/>
                <a:gd name="connsiteX1" fmla="*/ 318452 w 1198253"/>
                <a:gd name="connsiteY1" fmla="*/ 5808 h 1322378"/>
                <a:gd name="connsiteX2" fmla="*/ 875684 w 1198253"/>
                <a:gd name="connsiteY2" fmla="*/ 12068 h 1322378"/>
                <a:gd name="connsiteX3" fmla="*/ 1181341 w 1198253"/>
                <a:gd name="connsiteY3" fmla="*/ 269641 h 1322378"/>
                <a:gd name="connsiteX4" fmla="*/ 1197381 w 1198253"/>
                <a:gd name="connsiteY4" fmla="*/ 1005635 h 1322378"/>
                <a:gd name="connsiteX5" fmla="*/ 862656 w 1198253"/>
                <a:gd name="connsiteY5" fmla="*/ 1299127 h 1322378"/>
                <a:gd name="connsiteX6" fmla="*/ 316199 w 1198253"/>
                <a:gd name="connsiteY6" fmla="*/ 1318176 h 1322378"/>
                <a:gd name="connsiteX7" fmla="*/ 35349 w 1198253"/>
                <a:gd name="connsiteY7" fmla="*/ 1076117 h 1322378"/>
                <a:gd name="connsiteX8" fmla="*/ 19306 w 1198253"/>
                <a:gd name="connsiteY8" fmla="*/ 244873 h 1322378"/>
                <a:gd name="connsiteX0" fmla="*/ 19306 w 1198253"/>
                <a:gd name="connsiteY0" fmla="*/ 244873 h 1322378"/>
                <a:gd name="connsiteX1" fmla="*/ 318452 w 1198253"/>
                <a:gd name="connsiteY1" fmla="*/ 5808 h 1322378"/>
                <a:gd name="connsiteX2" fmla="*/ 875684 w 1198253"/>
                <a:gd name="connsiteY2" fmla="*/ 12068 h 1322378"/>
                <a:gd name="connsiteX3" fmla="*/ 1181341 w 1198253"/>
                <a:gd name="connsiteY3" fmla="*/ 269641 h 1322378"/>
                <a:gd name="connsiteX4" fmla="*/ 1197381 w 1198253"/>
                <a:gd name="connsiteY4" fmla="*/ 1005635 h 1322378"/>
                <a:gd name="connsiteX5" fmla="*/ 862656 w 1198253"/>
                <a:gd name="connsiteY5" fmla="*/ 1299127 h 1322378"/>
                <a:gd name="connsiteX6" fmla="*/ 316199 w 1198253"/>
                <a:gd name="connsiteY6" fmla="*/ 1318176 h 1322378"/>
                <a:gd name="connsiteX7" fmla="*/ 35349 w 1198253"/>
                <a:gd name="connsiteY7" fmla="*/ 1076117 h 1322378"/>
                <a:gd name="connsiteX8" fmla="*/ 19306 w 1198253"/>
                <a:gd name="connsiteY8" fmla="*/ 244873 h 1322378"/>
                <a:gd name="connsiteX0" fmla="*/ 19306 w 1201671"/>
                <a:gd name="connsiteY0" fmla="*/ 244873 h 1322378"/>
                <a:gd name="connsiteX1" fmla="*/ 318452 w 1201671"/>
                <a:gd name="connsiteY1" fmla="*/ 5808 h 1322378"/>
                <a:gd name="connsiteX2" fmla="*/ 875684 w 1201671"/>
                <a:gd name="connsiteY2" fmla="*/ 12068 h 1322378"/>
                <a:gd name="connsiteX3" fmla="*/ 1181341 w 1201671"/>
                <a:gd name="connsiteY3" fmla="*/ 269641 h 1322378"/>
                <a:gd name="connsiteX4" fmla="*/ 1197381 w 1201671"/>
                <a:gd name="connsiteY4" fmla="*/ 1005635 h 1322378"/>
                <a:gd name="connsiteX5" fmla="*/ 862656 w 1201671"/>
                <a:gd name="connsiteY5" fmla="*/ 1299127 h 1322378"/>
                <a:gd name="connsiteX6" fmla="*/ 316199 w 1201671"/>
                <a:gd name="connsiteY6" fmla="*/ 1318176 h 1322378"/>
                <a:gd name="connsiteX7" fmla="*/ 35349 w 1201671"/>
                <a:gd name="connsiteY7" fmla="*/ 1076117 h 1322378"/>
                <a:gd name="connsiteX8" fmla="*/ 19306 w 1201671"/>
                <a:gd name="connsiteY8" fmla="*/ 244873 h 1322378"/>
                <a:gd name="connsiteX0" fmla="*/ 19306 w 1201671"/>
                <a:gd name="connsiteY0" fmla="*/ 244873 h 1322378"/>
                <a:gd name="connsiteX1" fmla="*/ 318452 w 1201671"/>
                <a:gd name="connsiteY1" fmla="*/ 5808 h 1322378"/>
                <a:gd name="connsiteX2" fmla="*/ 875684 w 1201671"/>
                <a:gd name="connsiteY2" fmla="*/ 12068 h 1322378"/>
                <a:gd name="connsiteX3" fmla="*/ 1181341 w 1201671"/>
                <a:gd name="connsiteY3" fmla="*/ 269641 h 1322378"/>
                <a:gd name="connsiteX4" fmla="*/ 1197381 w 1201671"/>
                <a:gd name="connsiteY4" fmla="*/ 1005635 h 1322378"/>
                <a:gd name="connsiteX5" fmla="*/ 862656 w 1201671"/>
                <a:gd name="connsiteY5" fmla="*/ 1299127 h 1322378"/>
                <a:gd name="connsiteX6" fmla="*/ 316199 w 1201671"/>
                <a:gd name="connsiteY6" fmla="*/ 1318176 h 1322378"/>
                <a:gd name="connsiteX7" fmla="*/ 35349 w 1201671"/>
                <a:gd name="connsiteY7" fmla="*/ 1076117 h 1322378"/>
                <a:gd name="connsiteX8" fmla="*/ 19306 w 1201671"/>
                <a:gd name="connsiteY8" fmla="*/ 244873 h 1322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1671" h="1322378">
                  <a:moveTo>
                    <a:pt x="19306" y="244873"/>
                  </a:moveTo>
                  <a:cubicBezTo>
                    <a:pt x="28825" y="124670"/>
                    <a:pt x="153393" y="26625"/>
                    <a:pt x="318452" y="5808"/>
                  </a:cubicBezTo>
                  <a:cubicBezTo>
                    <a:pt x="456163" y="-543"/>
                    <a:pt x="626681" y="-5395"/>
                    <a:pt x="875684" y="12068"/>
                  </a:cubicBezTo>
                  <a:cubicBezTo>
                    <a:pt x="1034723" y="36151"/>
                    <a:pt x="1158786" y="122360"/>
                    <a:pt x="1181341" y="269641"/>
                  </a:cubicBezTo>
                  <a:cubicBezTo>
                    <a:pt x="1208661" y="522325"/>
                    <a:pt x="1202139" y="777034"/>
                    <a:pt x="1197381" y="1005635"/>
                  </a:cubicBezTo>
                  <a:cubicBezTo>
                    <a:pt x="1186101" y="1188564"/>
                    <a:pt x="1039672" y="1281241"/>
                    <a:pt x="862656" y="1299127"/>
                  </a:cubicBezTo>
                  <a:cubicBezTo>
                    <a:pt x="708308" y="1311646"/>
                    <a:pt x="549725" y="1330966"/>
                    <a:pt x="316199" y="1318176"/>
                  </a:cubicBezTo>
                  <a:cubicBezTo>
                    <a:pt x="157157" y="1318175"/>
                    <a:pt x="49637" y="1235916"/>
                    <a:pt x="35349" y="1076117"/>
                  </a:cubicBezTo>
                  <a:cubicBezTo>
                    <a:pt x="1678" y="732454"/>
                    <a:pt x="-15950" y="501184"/>
                    <a:pt x="19306" y="244873"/>
                  </a:cubicBezTo>
                  <a:close/>
                </a:path>
              </a:pathLst>
            </a:custGeom>
            <a:noFill/>
            <a:ln w="19050" cap="flat" cmpd="sng" algn="ctr">
              <a:solidFill>
                <a:srgbClr val="DE721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30" name="Line 8"/>
          <p:cNvSpPr>
            <a:spLocks noChangeShapeType="1"/>
          </p:cNvSpPr>
          <p:nvPr/>
        </p:nvSpPr>
        <p:spPr bwMode="auto">
          <a:xfrm rot="16200000" flipH="1">
            <a:off x="5930858" y="3640999"/>
            <a:ext cx="28865" cy="324946"/>
          </a:xfrm>
          <a:prstGeom prst="line">
            <a:avLst/>
          </a:prstGeom>
          <a:noFill/>
          <a:ln w="28575">
            <a:solidFill>
              <a:srgbClr val="DE7212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fr-FR" dirty="0"/>
          </a:p>
        </p:txBody>
      </p:sp>
      <p:sp>
        <p:nvSpPr>
          <p:cNvPr id="31" name="Line 8"/>
          <p:cNvSpPr>
            <a:spLocks noChangeShapeType="1"/>
          </p:cNvSpPr>
          <p:nvPr/>
        </p:nvSpPr>
        <p:spPr bwMode="auto">
          <a:xfrm rot="-7800000" flipH="1">
            <a:off x="5803922" y="2844237"/>
            <a:ext cx="80031" cy="621648"/>
          </a:xfrm>
          <a:prstGeom prst="line">
            <a:avLst/>
          </a:prstGeom>
          <a:noFill/>
          <a:ln w="28575">
            <a:solidFill>
              <a:srgbClr val="DE7212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fr-FR" dirty="0"/>
          </a:p>
        </p:txBody>
      </p:sp>
      <p:sp>
        <p:nvSpPr>
          <p:cNvPr id="32" name="Line 8"/>
          <p:cNvSpPr>
            <a:spLocks noChangeShapeType="1"/>
          </p:cNvSpPr>
          <p:nvPr/>
        </p:nvSpPr>
        <p:spPr bwMode="auto">
          <a:xfrm rot="7800000" flipV="1">
            <a:off x="5902419" y="4437838"/>
            <a:ext cx="12868" cy="530117"/>
          </a:xfrm>
          <a:prstGeom prst="line">
            <a:avLst/>
          </a:prstGeom>
          <a:noFill/>
          <a:ln w="28575">
            <a:solidFill>
              <a:srgbClr val="DE7212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fr-FR" dirty="0"/>
          </a:p>
        </p:txBody>
      </p:sp>
      <p:sp>
        <p:nvSpPr>
          <p:cNvPr id="33" name="Line 8"/>
          <p:cNvSpPr>
            <a:spLocks noChangeShapeType="1"/>
          </p:cNvSpPr>
          <p:nvPr/>
        </p:nvSpPr>
        <p:spPr bwMode="auto">
          <a:xfrm rot="7800000">
            <a:off x="3216419" y="3164737"/>
            <a:ext cx="4197" cy="291996"/>
          </a:xfrm>
          <a:prstGeom prst="line">
            <a:avLst/>
          </a:prstGeom>
          <a:noFill/>
          <a:ln w="28575">
            <a:solidFill>
              <a:srgbClr val="DE7212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fr-FR" dirty="0"/>
          </a:p>
        </p:txBody>
      </p:sp>
      <p:sp>
        <p:nvSpPr>
          <p:cNvPr id="34" name="Line 8"/>
          <p:cNvSpPr>
            <a:spLocks noChangeShapeType="1"/>
          </p:cNvSpPr>
          <p:nvPr/>
        </p:nvSpPr>
        <p:spPr bwMode="auto">
          <a:xfrm rot="13800000" flipH="1" flipV="1">
            <a:off x="3128592" y="4391980"/>
            <a:ext cx="19472" cy="294467"/>
          </a:xfrm>
          <a:prstGeom prst="line">
            <a:avLst/>
          </a:prstGeom>
          <a:noFill/>
          <a:ln w="28575">
            <a:solidFill>
              <a:srgbClr val="DE7212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fr-FR" dirty="0"/>
          </a:p>
        </p:txBody>
      </p:sp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4567326" y="4728892"/>
            <a:ext cx="4673" cy="572318"/>
          </a:xfrm>
          <a:prstGeom prst="line">
            <a:avLst/>
          </a:prstGeom>
          <a:noFill/>
          <a:ln w="28575">
            <a:solidFill>
              <a:srgbClr val="DE7212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fr-FR" dirty="0"/>
          </a:p>
        </p:txBody>
      </p:sp>
      <p:sp>
        <p:nvSpPr>
          <p:cNvPr id="38" name="Line 8"/>
          <p:cNvSpPr>
            <a:spLocks noChangeShapeType="1"/>
          </p:cNvSpPr>
          <p:nvPr/>
        </p:nvSpPr>
        <p:spPr bwMode="auto">
          <a:xfrm flipV="1">
            <a:off x="4567327" y="2733189"/>
            <a:ext cx="4672" cy="444941"/>
          </a:xfrm>
          <a:prstGeom prst="line">
            <a:avLst/>
          </a:prstGeom>
          <a:noFill/>
          <a:ln w="28575">
            <a:solidFill>
              <a:srgbClr val="DE7212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fr-FR" dirty="0"/>
          </a:p>
        </p:txBody>
      </p:sp>
      <p:sp>
        <p:nvSpPr>
          <p:cNvPr id="22" name="Titre 1"/>
          <p:cNvSpPr>
            <a:spLocks noGrp="1"/>
          </p:cNvSpPr>
          <p:nvPr>
            <p:ph type="title"/>
          </p:nvPr>
        </p:nvSpPr>
        <p:spPr>
          <a:xfrm>
            <a:off x="641350" y="544828"/>
            <a:ext cx="8106410" cy="769441"/>
          </a:xfrm>
        </p:spPr>
        <p:txBody>
          <a:bodyPr/>
          <a:lstStyle/>
          <a:p>
            <a:r>
              <a:rPr lang="en-US" dirty="0"/>
              <a:t>THE VOLUNTARY Standardization :</a:t>
            </a:r>
            <a:br>
              <a:rPr lang="en-US" dirty="0"/>
            </a:br>
            <a:r>
              <a:rPr lang="en-US" dirty="0"/>
              <a:t>who ASKS FOR IT ?</a:t>
            </a:r>
            <a:endParaRPr lang="fr-FR" dirty="0"/>
          </a:p>
        </p:txBody>
      </p:sp>
      <p:sp>
        <p:nvSpPr>
          <p:cNvPr id="21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641350" y="6506642"/>
            <a:ext cx="958596" cy="123111"/>
          </a:xfrm>
        </p:spPr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2427180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8663754"/>
              </p:ext>
            </p:extLst>
          </p:nvPr>
        </p:nvGraphicFramePr>
        <p:xfrm>
          <a:off x="499820" y="1584431"/>
          <a:ext cx="8222148" cy="4902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38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991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29914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fr-FR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 err="1"/>
                        <a:t>European</a:t>
                      </a:r>
                      <a:r>
                        <a:rPr lang="fr-FR" sz="1500" dirty="0"/>
                        <a:t> standard (EN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CEN </a:t>
                      </a:r>
                      <a:r>
                        <a:rPr lang="fr-FR" sz="1500" dirty="0" err="1"/>
                        <a:t>Worskshop</a:t>
                      </a:r>
                      <a:r>
                        <a:rPr lang="fr-FR" sz="1500" dirty="0"/>
                        <a:t> Agreement (CW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500" b="0" dirty="0" err="1"/>
                        <a:t>Status</a:t>
                      </a:r>
                      <a:endParaRPr lang="fr-FR" sz="15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0" i="0" u="sng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ndard</a:t>
                      </a:r>
                      <a:r>
                        <a:rPr lang="en-US" sz="15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dopted by C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N </a:t>
                      </a:r>
                      <a:r>
                        <a:rPr lang="en-US" sz="1500" b="0" i="0" u="sng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cument</a:t>
                      </a:r>
                      <a:r>
                        <a:rPr lang="en-US" sz="15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developed by a Workshop, which reflects an agreement between identified individuals and organizations responsible for its cont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500" b="0" dirty="0"/>
                        <a:t>Particip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dirty="0"/>
                        <a:t>All interested parties via </a:t>
                      </a:r>
                      <a:r>
                        <a:rPr lang="en-US" sz="1600" u="sng" dirty="0"/>
                        <a:t>national delegations</a:t>
                      </a:r>
                      <a:r>
                        <a:rPr lang="en-US" sz="1600" dirty="0"/>
                        <a:t> to a CEN Technical</a:t>
                      </a:r>
                      <a:r>
                        <a:rPr lang="en-US" sz="1600" baseline="0" dirty="0"/>
                        <a:t> </a:t>
                      </a:r>
                      <a:r>
                        <a:rPr lang="en-US" sz="1600" dirty="0"/>
                        <a:t>Committee</a:t>
                      </a:r>
                      <a:endParaRPr lang="en-US" sz="1500" b="0" dirty="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istered</a:t>
                      </a:r>
                      <a:r>
                        <a:rPr lang="fr-FR" sz="15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Workshop participant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dirty="0"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150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500" b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rect participation </a:t>
                      </a:r>
                      <a:r>
                        <a:rPr lang="en-US" sz="15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 anyone</a:t>
                      </a:r>
                      <a:endParaRPr lang="fr-FR" sz="15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500" b="0" dirty="0" err="1"/>
                        <a:t>Standstill</a:t>
                      </a:r>
                      <a:endParaRPr lang="fr-FR" sz="15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b="0" baseline="0" dirty="0" err="1"/>
                        <a:t>Standstill</a:t>
                      </a:r>
                      <a:endParaRPr lang="fr-FR" sz="15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b="0" dirty="0"/>
                        <a:t>No </a:t>
                      </a:r>
                      <a:r>
                        <a:rPr lang="fr-FR" sz="1500" b="0" dirty="0" err="1"/>
                        <a:t>standstill</a:t>
                      </a:r>
                      <a:endParaRPr lang="fr-FR" sz="15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fr-FR" sz="1500" b="0" dirty="0" err="1"/>
                        <a:t>Approval</a:t>
                      </a:r>
                      <a:endParaRPr lang="fr-FR" sz="15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500" b="0" dirty="0"/>
                        <a:t>CEN </a:t>
                      </a:r>
                      <a:r>
                        <a:rPr lang="fr-FR" sz="1500" b="0" dirty="0" err="1"/>
                        <a:t>members</a:t>
                      </a:r>
                      <a:endParaRPr lang="fr-FR" sz="15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5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ensus among Workshop </a:t>
                      </a:r>
                      <a:r>
                        <a:rPr lang="en-US" sz="1500" b="0" i="0" u="sng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istered</a:t>
                      </a:r>
                      <a:r>
                        <a:rPr lang="en-US" sz="15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ticipa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dirty="0"/>
                        <a:t>National </a:t>
                      </a:r>
                      <a:r>
                        <a:rPr lang="fr-FR" sz="1500" b="0" dirty="0" err="1"/>
                        <a:t>implementation</a:t>
                      </a:r>
                      <a:endParaRPr lang="fr-FR" sz="15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ligation of implementation as an identical national standard </a:t>
                      </a:r>
                      <a:r>
                        <a:rPr lang="fr-FR" sz="1500" b="0" dirty="0"/>
                        <a:t>(NF EN, DIN EN, BS EN, …)</a:t>
                      </a:r>
                      <a:r>
                        <a:rPr lang="fr-FR" sz="1500" b="0" baseline="0" dirty="0"/>
                        <a:t> </a:t>
                      </a:r>
                      <a:r>
                        <a:rPr lang="en-US" sz="15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 withdrawal of conflicting national stand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 dirty="0" err="1"/>
                        <a:t>Announcement</a:t>
                      </a:r>
                      <a:endParaRPr lang="fr-FR" sz="15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500" b="0"/>
                        <a:t>Maintenance</a:t>
                      </a:r>
                      <a:endParaRPr lang="fr-FR" sz="15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dirty="0"/>
                        <a:t>Review (5 years)</a:t>
                      </a:r>
                      <a:endParaRPr lang="fr-FR" sz="15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years (6 years max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40800" y="543600"/>
            <a:ext cx="7848872" cy="804122"/>
          </a:xfrm>
        </p:spPr>
        <p:txBody>
          <a:bodyPr/>
          <a:lstStyle/>
          <a:p>
            <a:r>
              <a:rPr lang="fr-FR" dirty="0">
                <a:hlinkClick r:id="rId3"/>
              </a:rPr>
              <a:t>THE CEN DELIVRABLES</a:t>
            </a:r>
            <a:endParaRPr lang="fr-FR" dirty="0"/>
          </a:p>
        </p:txBody>
      </p:sp>
      <p:sp>
        <p:nvSpPr>
          <p:cNvPr id="5" name="ZoneTexte 4"/>
          <p:cNvSpPr txBox="1"/>
          <p:nvPr/>
        </p:nvSpPr>
        <p:spPr>
          <a:xfrm>
            <a:off x="640800" y="1102560"/>
            <a:ext cx="83347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Among the 4 CEN deliverables, </a:t>
            </a:r>
            <a:r>
              <a:rPr lang="en-GB" b="1" dirty="0"/>
              <a:t>2 options</a:t>
            </a:r>
          </a:p>
        </p:txBody>
      </p:sp>
      <p:sp>
        <p:nvSpPr>
          <p:cNvPr id="6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641350" y="6506642"/>
            <a:ext cx="958596" cy="123111"/>
          </a:xfrm>
        </p:spPr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19266736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b="0" dirty="0"/>
              <a:t>Principles : </a:t>
            </a:r>
            <a:r>
              <a:rPr lang="en-US" dirty="0"/>
              <a:t>consensus</a:t>
            </a:r>
            <a:r>
              <a:rPr lang="en-US" b="0" dirty="0"/>
              <a:t>, </a:t>
            </a:r>
            <a:r>
              <a:rPr lang="en-US" dirty="0"/>
              <a:t>openness</a:t>
            </a:r>
            <a:r>
              <a:rPr lang="en-US" b="0" dirty="0"/>
              <a:t>, </a:t>
            </a:r>
            <a:r>
              <a:rPr lang="en-US" dirty="0"/>
              <a:t>transparency</a:t>
            </a:r>
            <a:r>
              <a:rPr lang="en-US" b="0" dirty="0"/>
              <a:t>, </a:t>
            </a:r>
            <a:r>
              <a:rPr lang="en-US" dirty="0"/>
              <a:t>national commitment </a:t>
            </a:r>
            <a:r>
              <a:rPr lang="en-US" b="0" dirty="0"/>
              <a:t>and </a:t>
            </a:r>
            <a:r>
              <a:rPr lang="en-US" dirty="0"/>
              <a:t>technical coherence</a:t>
            </a:r>
          </a:p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b="0" dirty="0"/>
              <a:t>Steps :</a:t>
            </a:r>
          </a:p>
          <a:p>
            <a:pPr marL="644525" lvl="1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b="1" dirty="0"/>
              <a:t>proposal for new work </a:t>
            </a:r>
            <a:r>
              <a:rPr lang="en-US" b="0" dirty="0"/>
              <a:t/>
            </a:r>
            <a:br>
              <a:rPr lang="en-US" b="0" dirty="0"/>
            </a:br>
            <a:r>
              <a:rPr lang="en-US" b="0" dirty="0">
                <a:sym typeface="Wingdings" panose="05000000000000000000" pitchFamily="2" charset="2"/>
              </a:rPr>
              <a:t> </a:t>
            </a:r>
            <a:r>
              <a:rPr lang="en-US" b="1" dirty="0">
                <a:sym typeface="Wingdings" panose="05000000000000000000" pitchFamily="2" charset="2"/>
              </a:rPr>
              <a:t>Technical Body </a:t>
            </a:r>
            <a:r>
              <a:rPr lang="en-US" b="0" dirty="0">
                <a:sym typeface="Wingdings" panose="05000000000000000000" pitchFamily="2" charset="2"/>
              </a:rPr>
              <a:t>existing or to be created</a:t>
            </a:r>
          </a:p>
          <a:p>
            <a:pPr marL="644525" lvl="1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b="1" dirty="0">
                <a:sym typeface="Wingdings" panose="05000000000000000000" pitchFamily="2" charset="2"/>
              </a:rPr>
              <a:t>Standstill</a:t>
            </a:r>
          </a:p>
          <a:p>
            <a:pPr marL="644525" lvl="1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b="1" dirty="0"/>
              <a:t>Drafting</a:t>
            </a:r>
            <a:r>
              <a:rPr lang="en-US" b="0" dirty="0"/>
              <a:t> </a:t>
            </a:r>
            <a:r>
              <a:rPr lang="en-US" b="0" dirty="0">
                <a:sym typeface="Wingdings" panose="05000000000000000000" pitchFamily="2" charset="2"/>
              </a:rPr>
              <a:t> t</a:t>
            </a:r>
            <a:r>
              <a:rPr lang="en-US" b="0" dirty="0"/>
              <a:t>he draft EN is developed (in English) by experts within a Technical Body</a:t>
            </a:r>
          </a:p>
          <a:p>
            <a:pPr marL="644525" lvl="1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b="1" dirty="0"/>
              <a:t>Enquiry</a:t>
            </a:r>
            <a:r>
              <a:rPr lang="en-US" b="0" dirty="0"/>
              <a:t> </a:t>
            </a:r>
            <a:r>
              <a:rPr lang="en-US" b="0" dirty="0">
                <a:sym typeface="Wingdings" panose="05000000000000000000" pitchFamily="2" charset="2"/>
              </a:rPr>
              <a:t> </a:t>
            </a:r>
            <a:r>
              <a:rPr lang="en-US" b="0" dirty="0"/>
              <a:t>Public comment at national level (8 weeks) &amp; weighted vote</a:t>
            </a:r>
          </a:p>
          <a:p>
            <a:pPr marL="644525" lvl="1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b="1" dirty="0"/>
              <a:t>Formal Vote (weighted)</a:t>
            </a:r>
            <a:br>
              <a:rPr lang="en-US" b="1" dirty="0"/>
            </a:br>
            <a:r>
              <a:rPr lang="en-US" b="0" dirty="0"/>
              <a:t>If the results of the Enquiry show that the draft EN requires technical reworking</a:t>
            </a:r>
          </a:p>
          <a:p>
            <a:pPr marL="644525" lvl="1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b="1" dirty="0"/>
              <a:t>Publication</a:t>
            </a:r>
            <a:r>
              <a:rPr lang="en-US" b="0" dirty="0"/>
              <a:t/>
            </a:r>
            <a:br>
              <a:rPr lang="en-US" b="0" dirty="0"/>
            </a:br>
            <a:r>
              <a:rPr lang="en-US" b="0" dirty="0"/>
              <a:t>The EN must be </a:t>
            </a:r>
            <a:r>
              <a:rPr lang="en-US" dirty="0"/>
              <a:t>implemented at national level in all CEN member countries (34) by being given the status of national standards and any conflicting national standard shall be withdrawn</a:t>
            </a:r>
            <a:endParaRPr lang="en-US" b="0" dirty="0"/>
          </a:p>
          <a:p>
            <a:pPr marL="644525" lvl="1" indent="-285750" algn="l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b="1" dirty="0"/>
              <a:t>Review</a:t>
            </a:r>
            <a:r>
              <a:rPr lang="en-US" b="0" dirty="0"/>
              <a:t> </a:t>
            </a:r>
            <a:r>
              <a:rPr lang="en-US" dirty="0"/>
              <a:t>(</a:t>
            </a:r>
            <a:r>
              <a:rPr lang="en-US" u="sng" dirty="0"/>
              <a:t>&lt;</a:t>
            </a:r>
            <a:r>
              <a:rPr lang="en-US" dirty="0"/>
              <a:t> 5 years </a:t>
            </a:r>
            <a:r>
              <a:rPr lang="en-US" dirty="0">
                <a:sym typeface="Wingdings" panose="05000000000000000000" pitchFamily="2" charset="2"/>
              </a:rPr>
              <a:t> c</a:t>
            </a:r>
            <a:r>
              <a:rPr lang="en-US" dirty="0"/>
              <a:t>onfirmation, or revision or withdrawal)</a:t>
            </a: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hlinkClick r:id="rId3"/>
              </a:rPr>
              <a:t>DEVELOPPING A EUROPEAN STANDARD</a:t>
            </a:r>
            <a:r>
              <a:rPr lang="fr-FR" dirty="0"/>
              <a:t> (EN)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59818941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94326870"/>
              </p:ext>
            </p:extLst>
          </p:nvPr>
        </p:nvGraphicFramePr>
        <p:xfrm>
          <a:off x="323850" y="1566521"/>
          <a:ext cx="8458200" cy="3845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5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145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145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145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8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lan </a:t>
                      </a:r>
                      <a:endParaRPr lang="fr-FR" sz="18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ick-off</a:t>
                      </a:r>
                    </a:p>
                    <a:p>
                      <a:pPr algn="ctr"/>
                      <a:r>
                        <a:rPr lang="fr-FR" sz="18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eeting</a:t>
                      </a:r>
                      <a:endParaRPr lang="fr-FR" sz="18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Drafting and adoption of CWA </a:t>
                      </a:r>
                      <a:endParaRPr lang="fr-FR" sz="1800" b="1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ublication of CWA </a:t>
                      </a:r>
                      <a:endParaRPr lang="fr-FR" sz="1800" b="1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endParaRPr lang="fr-FR" sz="1800" i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i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i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sz="1800" b="1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cribing</a:t>
                      </a:r>
                      <a:endParaRPr lang="fr-FR" sz="1800" b="1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fr-FR" sz="1800" b="1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cop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jectiv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ork</a:t>
                      </a:r>
                      <a:r>
                        <a:rPr lang="fr-FR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la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liverable</a:t>
                      </a:r>
                      <a:r>
                        <a:rPr lang="fr-FR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s)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inancing</a:t>
                      </a:r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firming</a:t>
                      </a:r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fr-FR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 Plan :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liverable</a:t>
                      </a:r>
                      <a:r>
                        <a:rPr lang="fr-FR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s)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les</a:t>
                      </a:r>
                      <a:r>
                        <a:rPr lang="fr-FR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f the Workshop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inancing</a:t>
                      </a:r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irmanship</a:t>
                      </a:r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fr-FR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retariat</a:t>
                      </a:r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ensus</a:t>
                      </a:r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fr-FR" sz="1800" b="1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  <a:endParaRPr lang="fr-FR" sz="1800" b="1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orkshop </a:t>
                      </a:r>
                      <a:r>
                        <a:rPr lang="en-US" sz="1800" b="0" i="0" u="sng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istered</a:t>
                      </a: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ticipant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en commenting phase (60 days)</a:t>
                      </a:r>
                    </a:p>
                    <a:p>
                      <a:pPr algn="l"/>
                      <a:endParaRPr lang="fr-FR" sz="18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800" b="1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nounced</a:t>
                      </a:r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fr-FR" sz="1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fr-FR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y CEN or CENELEC National </a:t>
                      </a:r>
                      <a:r>
                        <a:rPr lang="fr-FR" sz="18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ers</a:t>
                      </a:r>
                      <a:endParaRPr lang="fr-FR" sz="180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40800" y="543600"/>
            <a:ext cx="7848872" cy="804122"/>
          </a:xfrm>
        </p:spPr>
        <p:txBody>
          <a:bodyPr/>
          <a:lstStyle/>
          <a:p>
            <a:r>
              <a:rPr lang="fr-FR" dirty="0">
                <a:hlinkClick r:id="rId3"/>
              </a:rPr>
              <a:t>DEVELOPPING A CEN Workshop Agreement</a:t>
            </a:r>
            <a:r>
              <a:rPr lang="fr-FR" dirty="0"/>
              <a:t> (CWA)</a:t>
            </a:r>
          </a:p>
        </p:txBody>
      </p:sp>
      <p:cxnSp>
        <p:nvCxnSpPr>
          <p:cNvPr id="6" name="Connecteur droit avec flèche 5"/>
          <p:cNvCxnSpPr/>
          <p:nvPr/>
        </p:nvCxnSpPr>
        <p:spPr>
          <a:xfrm flipV="1">
            <a:off x="323850" y="2363375"/>
            <a:ext cx="8454390" cy="14070"/>
          </a:xfrm>
          <a:prstGeom prst="straightConnector1">
            <a:avLst/>
          </a:prstGeom>
          <a:ln w="635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2504054" y="2194560"/>
            <a:ext cx="409369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b="1" dirty="0" err="1"/>
              <a:t>Timeframe</a:t>
            </a:r>
            <a:r>
              <a:rPr lang="fr-FR" b="1" dirty="0"/>
              <a:t> : 6 - 18 </a:t>
            </a:r>
            <a:r>
              <a:rPr lang="fr-FR" b="1" dirty="0" err="1"/>
              <a:t>months</a:t>
            </a:r>
            <a:r>
              <a:rPr lang="fr-FR" b="1" dirty="0"/>
              <a:t> (av.) </a:t>
            </a:r>
            <a:endParaRPr lang="fr-FR" dirty="0"/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3"/>
          </p:nvPr>
        </p:nvSpPr>
        <p:spPr>
          <a:xfrm>
            <a:off x="641350" y="6506642"/>
            <a:ext cx="958596" cy="123111"/>
          </a:xfrm>
        </p:spPr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4048063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85750" indent="-285750">
              <a:buClr>
                <a:srgbClr val="00B1EB"/>
              </a:buClr>
              <a:buFont typeface="Arial" panose="020B0604020202020204" pitchFamily="34" charset="0"/>
              <a:buChar char="→"/>
            </a:pPr>
            <a:r>
              <a:rPr lang="en-US" dirty="0">
                <a:solidFill>
                  <a:prstClr val="black"/>
                </a:solidFill>
              </a:rPr>
              <a:t>Development of EN(s)</a:t>
            </a:r>
          </a:p>
          <a:p>
            <a:pPr marL="742950" lvl="1" indent="-285750">
              <a:buClr>
                <a:srgbClr val="00B1EB"/>
              </a:buClr>
              <a:buFont typeface="Arial" panose="020B0604020202020204" pitchFamily="34" charset="0"/>
              <a:buChar char="→"/>
            </a:pPr>
            <a:r>
              <a:rPr lang="en-US" dirty="0">
                <a:solidFill>
                  <a:prstClr val="black"/>
                </a:solidFill>
              </a:rPr>
              <a:t>TC Secretariat</a:t>
            </a:r>
          </a:p>
          <a:p>
            <a:pPr marL="742950" lvl="1" indent="-285750">
              <a:buClr>
                <a:srgbClr val="00B1EB"/>
              </a:buClr>
              <a:buFont typeface="Arial" panose="020B0604020202020204" pitchFamily="34" charset="0"/>
              <a:buChar char="→"/>
            </a:pPr>
            <a:r>
              <a:rPr lang="en-US" dirty="0">
                <a:solidFill>
                  <a:prstClr val="black"/>
                </a:solidFill>
              </a:rPr>
              <a:t>WG Secretariat (optional)</a:t>
            </a:r>
          </a:p>
          <a:p>
            <a:pPr>
              <a:buClr>
                <a:srgbClr val="00B1EB"/>
              </a:buClr>
            </a:pPr>
            <a:endParaRPr lang="en-US" dirty="0">
              <a:solidFill>
                <a:prstClr val="black"/>
              </a:solidFill>
            </a:endParaRPr>
          </a:p>
          <a:p>
            <a:pPr marL="285750" indent="-285750">
              <a:buClr>
                <a:srgbClr val="00B1EB"/>
              </a:buClr>
              <a:buFont typeface="Arial" panose="020B0604020202020204" pitchFamily="34" charset="0"/>
              <a:buChar char="→"/>
            </a:pPr>
            <a:r>
              <a:rPr lang="en-US" dirty="0">
                <a:solidFill>
                  <a:prstClr val="black"/>
                </a:solidFill>
              </a:rPr>
              <a:t>Development of CWA(s)</a:t>
            </a:r>
          </a:p>
          <a:p>
            <a:pPr marL="742950" lvl="1" indent="-285750">
              <a:buClr>
                <a:srgbClr val="00B1EB"/>
              </a:buClr>
              <a:buFont typeface="Arial" panose="020B0604020202020204" pitchFamily="34" charset="0"/>
              <a:buChar char="→"/>
            </a:pPr>
            <a:r>
              <a:rPr lang="en-US" dirty="0">
                <a:solidFill>
                  <a:prstClr val="black"/>
                </a:solidFill>
              </a:rPr>
              <a:t>WS Secretariat</a:t>
            </a:r>
          </a:p>
          <a:p>
            <a:endParaRPr lang="en-US" dirty="0">
              <a:solidFill>
                <a:prstClr val="black"/>
              </a:solidFill>
            </a:endParaRPr>
          </a:p>
          <a:p>
            <a:pPr algn="l">
              <a:buClr>
                <a:schemeClr val="accent1"/>
              </a:buClr>
            </a:pPr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FUNDING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79962291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"/>
          <p:cNvSpPr>
            <a:spLocks noGrp="1"/>
          </p:cNvSpPr>
          <p:nvPr>
            <p:ph type="title"/>
          </p:nvPr>
        </p:nvSpPr>
        <p:spPr>
          <a:xfrm>
            <a:off x="641350" y="544829"/>
            <a:ext cx="7861300" cy="492704"/>
          </a:xfrm>
        </p:spPr>
        <p:txBody>
          <a:bodyPr>
            <a:normAutofit/>
          </a:bodyPr>
          <a:lstStyle/>
          <a:p>
            <a:r>
              <a:rPr lang="fr-FR" dirty="0"/>
              <a:t>In summary</a:t>
            </a:r>
            <a:endParaRPr lang="fr-FR" b="0" dirty="0"/>
          </a:p>
        </p:txBody>
      </p:sp>
      <p:sp>
        <p:nvSpPr>
          <p:cNvPr id="10" name="TextBox 9"/>
          <p:cNvSpPr txBox="1"/>
          <p:nvPr/>
        </p:nvSpPr>
        <p:spPr>
          <a:xfrm>
            <a:off x="5684191" y="1990890"/>
            <a:ext cx="1826950" cy="989247"/>
          </a:xfrm>
          <a:prstGeom prst="rect">
            <a:avLst/>
          </a:prstGeom>
          <a:solidFill>
            <a:srgbClr val="EFEFEF"/>
          </a:solidFill>
        </p:spPr>
        <p:txBody>
          <a:bodyPr wrap="square" lIns="144000" tIns="93600" rIns="144000" bIns="9360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solidFill>
                  <a:srgbClr val="00B1EB"/>
                </a:solidFill>
              </a:rPr>
              <a:t>You</a:t>
            </a:r>
            <a:r>
              <a:rPr lang="en-US" sz="1600" dirty="0"/>
              <a:t> participate fully in its elaboration</a:t>
            </a:r>
            <a:endParaRPr lang="fr-FR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5684191" y="4565465"/>
            <a:ext cx="2271450" cy="989247"/>
          </a:xfrm>
          <a:prstGeom prst="rect">
            <a:avLst/>
          </a:prstGeom>
          <a:solidFill>
            <a:srgbClr val="EFEFEF"/>
          </a:solidFill>
        </p:spPr>
        <p:txBody>
          <a:bodyPr wrap="square" lIns="144000" tIns="93600" rIns="144000" bIns="9360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solidFill>
                  <a:srgbClr val="00B1EB"/>
                </a:solidFill>
              </a:rPr>
              <a:t>We</a:t>
            </a:r>
            <a:r>
              <a:rPr lang="en-US" sz="1600" dirty="0"/>
              <a:t> accompany you and provide support and advice</a:t>
            </a:r>
            <a:endParaRPr lang="fr-FR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498567" y="4440853"/>
            <a:ext cx="3571408" cy="1727911"/>
          </a:xfrm>
          <a:prstGeom prst="rect">
            <a:avLst/>
          </a:prstGeom>
          <a:solidFill>
            <a:srgbClr val="EFEFEF"/>
          </a:solidFill>
        </p:spPr>
        <p:txBody>
          <a:bodyPr wrap="square" lIns="144000" tIns="93600" rIns="144000" bIns="93600" rtlCol="0" anchor="ctr">
            <a:spAutoFit/>
          </a:bodyPr>
          <a:lstStyle/>
          <a:p>
            <a:r>
              <a:rPr lang="en-US" sz="2000" b="1" dirty="0">
                <a:solidFill>
                  <a:srgbClr val="00B1EB"/>
                </a:solidFill>
              </a:rPr>
              <a:t>Together</a:t>
            </a:r>
            <a:r>
              <a:rPr lang="en-US" sz="1600" dirty="0"/>
              <a:t>, we contribute to the improvement of products, services and practices, for your competitiveness and, more generally, for the progress of the economy and society</a:t>
            </a:r>
            <a:endParaRPr lang="en-US" sz="1600" dirty="0">
              <a:effectLst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69311" y="1992042"/>
            <a:ext cx="2203760" cy="989247"/>
          </a:xfrm>
          <a:prstGeom prst="rect">
            <a:avLst/>
          </a:prstGeom>
          <a:solidFill>
            <a:srgbClr val="EFEFEF"/>
          </a:solidFill>
        </p:spPr>
        <p:txBody>
          <a:bodyPr wrap="square" lIns="144000" tIns="93600" rIns="144000" bIns="93600" rtlCol="0" anchor="ctr">
            <a:spAutoFit/>
          </a:bodyPr>
          <a:lstStyle/>
          <a:p>
            <a:r>
              <a:rPr lang="en-US" sz="2000" b="1" dirty="0">
                <a:solidFill>
                  <a:srgbClr val="00B1EB"/>
                </a:solidFill>
              </a:rPr>
              <a:t>You</a:t>
            </a:r>
            <a:r>
              <a:rPr lang="en-US" sz="1600" dirty="0"/>
              <a:t> collectively decide to create a standard</a:t>
            </a:r>
            <a:endParaRPr lang="fr-FR" sz="1600" dirty="0"/>
          </a:p>
        </p:txBody>
      </p:sp>
      <p:sp>
        <p:nvSpPr>
          <p:cNvPr id="14" name="TextBox 13"/>
          <p:cNvSpPr txBox="1"/>
          <p:nvPr/>
        </p:nvSpPr>
        <p:spPr>
          <a:xfrm>
            <a:off x="2133073" y="1138570"/>
            <a:ext cx="48527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>
                <a:solidFill>
                  <a:srgbClr val="00B1EB"/>
                </a:solidFill>
              </a:rPr>
              <a:t>THE VOLUNTARY STANDARDIZATION</a:t>
            </a:r>
          </a:p>
          <a:p>
            <a:pPr algn="ctr"/>
            <a:r>
              <a:rPr lang="fr-FR" dirty="0"/>
              <a:t>A FRAMEWORK FOR PROGRESS FOR ALL</a:t>
            </a:r>
          </a:p>
        </p:txBody>
      </p:sp>
      <p:grpSp>
        <p:nvGrpSpPr>
          <p:cNvPr id="114" name="Group 113"/>
          <p:cNvGrpSpPr/>
          <p:nvPr/>
        </p:nvGrpSpPr>
        <p:grpSpPr>
          <a:xfrm>
            <a:off x="4154714" y="2512787"/>
            <a:ext cx="1465828" cy="211401"/>
            <a:chOff x="4235378" y="2889846"/>
            <a:chExt cx="1248091" cy="179999"/>
          </a:xfrm>
          <a:solidFill>
            <a:srgbClr val="00B1EB"/>
          </a:solidFill>
        </p:grpSpPr>
        <p:sp>
          <p:nvSpPr>
            <p:cNvPr id="104" name="Isosceles Triangle 103"/>
            <p:cNvSpPr/>
            <p:nvPr/>
          </p:nvSpPr>
          <p:spPr>
            <a:xfrm rot="5400000">
              <a:off x="5339469" y="2925846"/>
              <a:ext cx="179999" cy="108000"/>
            </a:xfrm>
            <a:prstGeom prst="triangle">
              <a:avLst/>
            </a:prstGeom>
            <a:grpFill/>
            <a:ln>
              <a:solidFill>
                <a:srgbClr val="00B1EB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cxnSp>
          <p:nvCxnSpPr>
            <p:cNvPr id="3" name="Straight Connector 2"/>
            <p:cNvCxnSpPr/>
            <p:nvPr/>
          </p:nvCxnSpPr>
          <p:spPr>
            <a:xfrm flipH="1">
              <a:off x="4235378" y="2978439"/>
              <a:ext cx="1139897" cy="0"/>
            </a:xfrm>
            <a:prstGeom prst="line">
              <a:avLst/>
            </a:prstGeom>
            <a:grpFill/>
            <a:ln w="38100" cmpd="sng">
              <a:solidFill>
                <a:srgbClr val="00B1E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/>
          <p:cNvGrpSpPr/>
          <p:nvPr/>
        </p:nvGrpSpPr>
        <p:grpSpPr>
          <a:xfrm rot="10800000">
            <a:off x="4154714" y="4708073"/>
            <a:ext cx="1465828" cy="211401"/>
            <a:chOff x="4235378" y="2889846"/>
            <a:chExt cx="1248091" cy="179999"/>
          </a:xfrm>
          <a:solidFill>
            <a:srgbClr val="00B1EB"/>
          </a:solidFill>
        </p:grpSpPr>
        <p:sp>
          <p:nvSpPr>
            <p:cNvPr id="24" name="Isosceles Triangle 23"/>
            <p:cNvSpPr/>
            <p:nvPr/>
          </p:nvSpPr>
          <p:spPr>
            <a:xfrm rot="5400000">
              <a:off x="5339469" y="2925846"/>
              <a:ext cx="179999" cy="108000"/>
            </a:xfrm>
            <a:prstGeom prst="triangle">
              <a:avLst/>
            </a:prstGeom>
            <a:grpFill/>
            <a:ln>
              <a:solidFill>
                <a:srgbClr val="00B1EB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cxnSp>
          <p:nvCxnSpPr>
            <p:cNvPr id="25" name="Straight Connector 24"/>
            <p:cNvCxnSpPr/>
            <p:nvPr/>
          </p:nvCxnSpPr>
          <p:spPr>
            <a:xfrm flipH="1">
              <a:off x="4235378" y="2978439"/>
              <a:ext cx="1139897" cy="0"/>
            </a:xfrm>
            <a:prstGeom prst="line">
              <a:avLst/>
            </a:prstGeom>
            <a:grpFill/>
            <a:ln w="38100" cmpd="sng">
              <a:solidFill>
                <a:srgbClr val="00B1E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/>
        </p:nvGrpSpPr>
        <p:grpSpPr>
          <a:xfrm rot="16200000">
            <a:off x="3009204" y="3622017"/>
            <a:ext cx="1235003" cy="211401"/>
            <a:chOff x="4431916" y="2889846"/>
            <a:chExt cx="1051553" cy="179999"/>
          </a:xfrm>
          <a:solidFill>
            <a:srgbClr val="00B1EB"/>
          </a:solidFill>
        </p:grpSpPr>
        <p:sp>
          <p:nvSpPr>
            <p:cNvPr id="27" name="Isosceles Triangle 26"/>
            <p:cNvSpPr/>
            <p:nvPr/>
          </p:nvSpPr>
          <p:spPr>
            <a:xfrm rot="5400000">
              <a:off x="5339469" y="2925846"/>
              <a:ext cx="179999" cy="108000"/>
            </a:xfrm>
            <a:prstGeom prst="triangle">
              <a:avLst/>
            </a:prstGeom>
            <a:grpFill/>
            <a:ln>
              <a:solidFill>
                <a:srgbClr val="00B1EB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cxnSp>
          <p:nvCxnSpPr>
            <p:cNvPr id="28" name="Straight Connector 27"/>
            <p:cNvCxnSpPr/>
            <p:nvPr/>
          </p:nvCxnSpPr>
          <p:spPr>
            <a:xfrm rot="5400000">
              <a:off x="4903596" y="2506760"/>
              <a:ext cx="0" cy="943359"/>
            </a:xfrm>
            <a:prstGeom prst="line">
              <a:avLst/>
            </a:prstGeom>
            <a:grpFill/>
            <a:ln w="38100" cmpd="sng">
              <a:solidFill>
                <a:srgbClr val="00B1E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/>
        </p:nvGrpSpPr>
        <p:grpSpPr>
          <a:xfrm rot="5400000">
            <a:off x="5467561" y="3622017"/>
            <a:ext cx="1235003" cy="211401"/>
            <a:chOff x="4431916" y="2889846"/>
            <a:chExt cx="1051553" cy="179999"/>
          </a:xfrm>
          <a:solidFill>
            <a:srgbClr val="00B1EB"/>
          </a:solidFill>
        </p:grpSpPr>
        <p:sp>
          <p:nvSpPr>
            <p:cNvPr id="31" name="Isosceles Triangle 30"/>
            <p:cNvSpPr/>
            <p:nvPr/>
          </p:nvSpPr>
          <p:spPr>
            <a:xfrm rot="5400000">
              <a:off x="5339469" y="2925846"/>
              <a:ext cx="179999" cy="108000"/>
            </a:xfrm>
            <a:prstGeom prst="triangle">
              <a:avLst/>
            </a:prstGeom>
            <a:grpFill/>
            <a:ln>
              <a:solidFill>
                <a:srgbClr val="00B1EB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cxnSp>
          <p:nvCxnSpPr>
            <p:cNvPr id="32" name="Straight Connector 31"/>
            <p:cNvCxnSpPr/>
            <p:nvPr/>
          </p:nvCxnSpPr>
          <p:spPr>
            <a:xfrm rot="5400000">
              <a:off x="4903596" y="2506760"/>
              <a:ext cx="0" cy="943359"/>
            </a:xfrm>
            <a:prstGeom prst="line">
              <a:avLst/>
            </a:prstGeom>
            <a:grpFill/>
            <a:ln w="38100" cmpd="sng">
              <a:solidFill>
                <a:srgbClr val="00B1E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141672022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4454" y="5917112"/>
            <a:ext cx="1699677" cy="70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32990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61747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5260534" y="2272963"/>
            <a:ext cx="1862344" cy="2309774"/>
          </a:xfrm>
          <a:prstGeom prst="rect">
            <a:avLst/>
          </a:prstGeom>
          <a:solidFill>
            <a:srgbClr val="FF4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0" name="TextBox 9"/>
          <p:cNvSpPr txBox="1"/>
          <p:nvPr/>
        </p:nvSpPr>
        <p:spPr>
          <a:xfrm>
            <a:off x="1249850" y="2541538"/>
            <a:ext cx="368106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3600" b="1" dirty="0">
                <a:solidFill>
                  <a:srgbClr val="00B1EB"/>
                </a:solidFill>
              </a:rPr>
              <a:t>A VOLUNTARY</a:t>
            </a:r>
          </a:p>
          <a:p>
            <a:pPr algn="r"/>
            <a:r>
              <a:rPr lang="fr-FR" sz="3600" b="1" dirty="0">
                <a:solidFill>
                  <a:srgbClr val="00B1EB"/>
                </a:solidFill>
              </a:rPr>
              <a:t>STANDARD,</a:t>
            </a:r>
          </a:p>
          <a:p>
            <a:pPr algn="r"/>
            <a:r>
              <a:rPr lang="fr-FR" sz="3600" b="1" dirty="0"/>
              <a:t>WHAT IS I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06998" y="2077955"/>
            <a:ext cx="1961893" cy="2646878"/>
          </a:xfrm>
          <a:prstGeom prst="rect">
            <a:avLst/>
          </a:prstGeom>
          <a:solidFill>
            <a:srgbClr val="00B1EB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fr-FR" sz="16600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10203505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1259058" y="3145752"/>
            <a:ext cx="116046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Digital information &amp; communic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75038" y="3145752"/>
            <a:ext cx="173849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Industrial engineering, capital goods and material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34622" y="3145752"/>
            <a:ext cx="11604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Electro-technologies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567730" y="3156800"/>
            <a:ext cx="11604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Petroleum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976419" y="4296037"/>
            <a:ext cx="11604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Ga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154375" y="4296037"/>
            <a:ext cx="14549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Consumer goods, sports and leisur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36002" y="4296037"/>
            <a:ext cx="11604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Management &amp; servic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951987" y="4296037"/>
            <a:ext cx="116046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Environment and social responsibility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277173" y="4296037"/>
            <a:ext cx="11604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Water large cycl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259052" y="5510732"/>
            <a:ext cx="11604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Agri-foo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575040" y="5510732"/>
            <a:ext cx="11604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Transport &amp; logistic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91026" y="5510732"/>
            <a:ext cx="1160468" cy="60016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Occupational health and safet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243823" y="5510732"/>
            <a:ext cx="11604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Health and social action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559806" y="5510732"/>
            <a:ext cx="116046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Construction and urban planning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06358" y="4296037"/>
            <a:ext cx="11604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/>
              <a:t>Rational use of energy</a:t>
            </a:r>
          </a:p>
        </p:txBody>
      </p:sp>
      <p:sp>
        <p:nvSpPr>
          <p:cNvPr id="77" name="Title 2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769441"/>
          </a:xfrm>
        </p:spPr>
        <p:txBody>
          <a:bodyPr/>
          <a:lstStyle/>
          <a:p>
            <a:r>
              <a:rPr lang="en-GB" dirty="0"/>
              <a:t>A FRAMEWORK FOR REFERENCE</a:t>
            </a:r>
            <a:endParaRPr lang="en-GB" b="0" dirty="0"/>
          </a:p>
        </p:txBody>
      </p:sp>
      <p:pic>
        <p:nvPicPr>
          <p:cNvPr id="81" name="Picture 80" descr="picto1-01.pn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4515" y="4990251"/>
            <a:ext cx="524221" cy="597368"/>
          </a:xfrm>
          <a:prstGeom prst="rect">
            <a:avLst/>
          </a:prstGeom>
        </p:spPr>
      </p:pic>
      <p:pic>
        <p:nvPicPr>
          <p:cNvPr id="82" name="Picture 81" descr="picto2-01.png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6996" y="4998950"/>
            <a:ext cx="524221" cy="597368"/>
          </a:xfrm>
          <a:prstGeom prst="rect">
            <a:avLst/>
          </a:prstGeom>
        </p:spPr>
      </p:pic>
      <p:pic>
        <p:nvPicPr>
          <p:cNvPr id="83" name="Picture 82" descr="picto3-01.png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294" y="3763705"/>
            <a:ext cx="524221" cy="597368"/>
          </a:xfrm>
          <a:prstGeom prst="rect">
            <a:avLst/>
          </a:prstGeom>
        </p:spPr>
      </p:pic>
      <p:pic>
        <p:nvPicPr>
          <p:cNvPr id="84" name="Picture 83" descr="picto4-01.png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775" y="3772403"/>
            <a:ext cx="524221" cy="597368"/>
          </a:xfrm>
          <a:prstGeom prst="rect">
            <a:avLst/>
          </a:prstGeom>
        </p:spPr>
      </p:pic>
      <p:pic>
        <p:nvPicPr>
          <p:cNvPr id="85" name="Picture 84" descr="picto5-01.png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121" y="3763705"/>
            <a:ext cx="524221" cy="597368"/>
          </a:xfrm>
          <a:prstGeom prst="rect">
            <a:avLst/>
          </a:prstGeom>
        </p:spPr>
      </p:pic>
      <p:pic>
        <p:nvPicPr>
          <p:cNvPr id="86" name="Picture 85" descr="picto6.png"/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340" y="2721679"/>
            <a:ext cx="402309" cy="402309"/>
          </a:xfrm>
          <a:prstGeom prst="rect">
            <a:avLst/>
          </a:prstGeom>
        </p:spPr>
      </p:pic>
      <p:pic>
        <p:nvPicPr>
          <p:cNvPr id="87" name="Picture 86" descr="picto7.png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0081" y="5087781"/>
            <a:ext cx="402309" cy="402309"/>
          </a:xfrm>
          <a:prstGeom prst="rect">
            <a:avLst/>
          </a:prstGeom>
        </p:spPr>
      </p:pic>
      <p:pic>
        <p:nvPicPr>
          <p:cNvPr id="88" name="Picture 87" descr="picto8.png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996" y="5087781"/>
            <a:ext cx="402309" cy="402309"/>
          </a:xfrm>
          <a:prstGeom prst="rect">
            <a:avLst/>
          </a:prstGeom>
        </p:spPr>
      </p:pic>
      <p:pic>
        <p:nvPicPr>
          <p:cNvPr id="89" name="Picture 88" descr="picto10.png"/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2868" y="2721679"/>
            <a:ext cx="402309" cy="402309"/>
          </a:xfrm>
          <a:prstGeom prst="rect">
            <a:avLst/>
          </a:prstGeom>
          <a:noFill/>
        </p:spPr>
      </p:pic>
      <p:pic>
        <p:nvPicPr>
          <p:cNvPr id="90" name="Picture 89" descr="picto11.png"/>
          <p:cNvPicPr>
            <a:picLocks noChangeAspect="1"/>
          </p:cNvPicPr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84" y="3866886"/>
            <a:ext cx="402309" cy="408405"/>
          </a:xfrm>
          <a:prstGeom prst="rect">
            <a:avLst/>
          </a:prstGeom>
        </p:spPr>
      </p:pic>
      <p:pic>
        <p:nvPicPr>
          <p:cNvPr id="91" name="Picture 90" descr="picto12.png"/>
          <p:cNvPicPr>
            <a:picLocks noChangeAspect="1"/>
          </p:cNvPicPr>
          <p:nvPr/>
        </p:nvPicPr>
        <p:blipFill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7125" y="5087781"/>
            <a:ext cx="402309" cy="402309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92" name="Picture 91" descr="picto13.png"/>
          <p:cNvPicPr>
            <a:picLocks noChangeAspect="1"/>
          </p:cNvPicPr>
          <p:nvPr/>
        </p:nvPicPr>
        <p:blipFill>
          <a:blip r:embed="rId25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207" y="3869489"/>
            <a:ext cx="402309" cy="420596"/>
          </a:xfrm>
          <a:prstGeom prst="rect">
            <a:avLst/>
          </a:prstGeom>
        </p:spPr>
      </p:pic>
      <p:pic>
        <p:nvPicPr>
          <p:cNvPr id="93" name="Picture 92" descr="picto14.png"/>
          <p:cNvPicPr>
            <a:picLocks noChangeAspect="1"/>
          </p:cNvPicPr>
          <p:nvPr/>
        </p:nvPicPr>
        <p:blipFill>
          <a:blip r:embed="rId27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1857" y="2704280"/>
            <a:ext cx="402309" cy="402309"/>
          </a:xfrm>
          <a:prstGeom prst="rect">
            <a:avLst/>
          </a:prstGeom>
        </p:spPr>
      </p:pic>
      <p:pic>
        <p:nvPicPr>
          <p:cNvPr id="94" name="Picture 93" descr="picto15.png"/>
          <p:cNvPicPr>
            <a:picLocks noChangeAspect="1"/>
          </p:cNvPicPr>
          <p:nvPr/>
        </p:nvPicPr>
        <p:blipFill>
          <a:blip r:embed="rId29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0081" y="2721679"/>
            <a:ext cx="402309" cy="402309"/>
          </a:xfrm>
          <a:prstGeom prst="rect">
            <a:avLst/>
          </a:prstGeom>
        </p:spPr>
      </p:pic>
      <p:pic>
        <p:nvPicPr>
          <p:cNvPr id="95" name="Picture 94" descr="picto16.png"/>
          <p:cNvPicPr>
            <a:picLocks noChangeAspect="1"/>
          </p:cNvPicPr>
          <p:nvPr/>
        </p:nvPicPr>
        <p:blipFill>
          <a:blip r:embed="rId31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6121" y="3869935"/>
            <a:ext cx="402309" cy="402309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525600" y="1357200"/>
            <a:ext cx="83347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 voluntary standard provides </a:t>
            </a:r>
            <a:r>
              <a:rPr lang="en-GB" b="1" u="sng" dirty="0"/>
              <a:t>guidelines</a:t>
            </a:r>
            <a:r>
              <a:rPr lang="en-GB" b="1" dirty="0"/>
              <a:t>, </a:t>
            </a:r>
            <a:r>
              <a:rPr lang="en-GB" b="1" u="sng" dirty="0"/>
              <a:t>technical or qualitative requirements</a:t>
            </a:r>
            <a:r>
              <a:rPr lang="en-GB" b="1" dirty="0"/>
              <a:t> for products, services or practices</a:t>
            </a:r>
          </a:p>
          <a:p>
            <a:r>
              <a:rPr lang="en-GB" dirty="0"/>
              <a:t>It thus provides a framework for reference for all professional sectors</a:t>
            </a:r>
            <a:endParaRPr lang="en-GB" b="1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242461114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737155" y="3486106"/>
            <a:ext cx="5374346" cy="136836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6" name="Title 2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769441"/>
          </a:xfrm>
        </p:spPr>
        <p:txBody>
          <a:bodyPr>
            <a:normAutofit/>
          </a:bodyPr>
          <a:lstStyle/>
          <a:p>
            <a:r>
              <a:rPr lang="en-GB" dirty="0"/>
              <a:t>A collectively co-produced tool</a:t>
            </a:r>
            <a:br>
              <a:rPr lang="en-GB" dirty="0"/>
            </a:br>
            <a:r>
              <a:rPr lang="en-GB" dirty="0"/>
              <a:t>OF VOLUNTARY IMPLEMENTATION</a:t>
            </a:r>
          </a:p>
        </p:txBody>
      </p:sp>
      <p:sp>
        <p:nvSpPr>
          <p:cNvPr id="37" name="Text Placeholder 15"/>
          <p:cNvSpPr txBox="1">
            <a:spLocks/>
          </p:cNvSpPr>
          <p:nvPr/>
        </p:nvSpPr>
        <p:spPr>
          <a:xfrm>
            <a:off x="1212613" y="3591824"/>
            <a:ext cx="4166564" cy="114492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3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fr-FR" sz="2000" dirty="0">
                <a:solidFill>
                  <a:srgbClr val="00B1EB"/>
                </a:solidFill>
              </a:rPr>
              <a:t>THE STANDARD IS VOLUNTARY</a:t>
            </a:r>
          </a:p>
          <a:p>
            <a:pPr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2000" b="0" dirty="0">
                <a:solidFill>
                  <a:prstClr val="black"/>
                </a:solidFill>
              </a:rPr>
              <a:t>You can participate or not in it </a:t>
            </a:r>
          </a:p>
          <a:p>
            <a:pPr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2000" b="0" dirty="0">
                <a:solidFill>
                  <a:prstClr val="black"/>
                </a:solidFill>
              </a:rPr>
              <a:t>and refer or not to it</a:t>
            </a:r>
            <a:endParaRPr lang="fr-FR" sz="2000" b="0" dirty="0">
              <a:solidFill>
                <a:prstClr val="black"/>
              </a:solidFill>
            </a:endParaRPr>
          </a:p>
        </p:txBody>
      </p:sp>
      <p:sp>
        <p:nvSpPr>
          <p:cNvPr id="38" name="Text Placeholder 15"/>
          <p:cNvSpPr txBox="1">
            <a:spLocks/>
          </p:cNvSpPr>
          <p:nvPr/>
        </p:nvSpPr>
        <p:spPr>
          <a:xfrm>
            <a:off x="1347486" y="1720817"/>
            <a:ext cx="3757914" cy="1768996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3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en-GB" dirty="0"/>
              <a:t>It is the market players who </a:t>
            </a:r>
            <a:r>
              <a:rPr lang="en-GB" dirty="0">
                <a:solidFill>
                  <a:prstClr val="black"/>
                </a:solidFill>
              </a:rPr>
              <a:t>:</a:t>
            </a:r>
          </a:p>
          <a:p>
            <a:pPr marL="285750" indent="-285750"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B1EB"/>
              </a:buClr>
              <a:buFont typeface="Wingdings" panose="05000000000000000000" pitchFamily="2" charset="2"/>
              <a:buChar char="§"/>
            </a:pPr>
            <a:r>
              <a:rPr lang="en-GB" dirty="0"/>
              <a:t>propose</a:t>
            </a:r>
            <a:r>
              <a:rPr lang="en-GB" b="0" dirty="0"/>
              <a:t> its elaboration</a:t>
            </a:r>
            <a:r>
              <a:rPr lang="en-GB" b="0" dirty="0">
                <a:solidFill>
                  <a:prstClr val="black"/>
                </a:solidFill>
              </a:rPr>
              <a:t> </a:t>
            </a:r>
          </a:p>
          <a:p>
            <a:pPr marL="285750" indent="-285750"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B1EB"/>
              </a:buClr>
              <a:buFont typeface="Wingdings" panose="05000000000000000000" pitchFamily="2" charset="2"/>
              <a:buChar char="§"/>
            </a:pPr>
            <a:r>
              <a:rPr lang="en-GB" dirty="0"/>
              <a:t>develop </a:t>
            </a:r>
            <a:r>
              <a:rPr lang="en-GB" b="0" dirty="0"/>
              <a:t>it by </a:t>
            </a:r>
            <a:r>
              <a:rPr lang="en-GB" dirty="0"/>
              <a:t>consensus</a:t>
            </a:r>
            <a:r>
              <a:rPr lang="en-GB" b="0" dirty="0"/>
              <a:t>, within a dedicated collective of work</a:t>
            </a:r>
          </a:p>
          <a:p>
            <a:pPr marL="285750" indent="-285750"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B1EB"/>
              </a:buClr>
              <a:buFont typeface="Wingdings" panose="05000000000000000000" pitchFamily="2" charset="2"/>
              <a:buChar char="§"/>
            </a:pPr>
            <a:r>
              <a:rPr lang="en-GB" dirty="0">
                <a:solidFill>
                  <a:prstClr val="black"/>
                </a:solidFill>
              </a:rPr>
              <a:t>validate </a:t>
            </a:r>
            <a:r>
              <a:rPr lang="en-GB" b="0" dirty="0">
                <a:solidFill>
                  <a:prstClr val="black"/>
                </a:solidFill>
              </a:rPr>
              <a:t>it </a:t>
            </a:r>
          </a:p>
          <a:p>
            <a:pPr marL="285750" indent="-285750" algn="l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00B1EB"/>
              </a:buClr>
              <a:buFont typeface="Wingdings" panose="05000000000000000000" pitchFamily="2" charset="2"/>
              <a:buChar char="§"/>
            </a:pPr>
            <a:r>
              <a:rPr lang="en-GB" b="0" dirty="0">
                <a:solidFill>
                  <a:prstClr val="black"/>
                </a:solidFill>
              </a:rPr>
              <a:t>and </a:t>
            </a:r>
            <a:r>
              <a:rPr lang="en-GB" dirty="0">
                <a:solidFill>
                  <a:prstClr val="black"/>
                </a:solidFill>
              </a:rPr>
              <a:t>implement</a:t>
            </a:r>
            <a:r>
              <a:rPr lang="en-GB" b="0" dirty="0">
                <a:solidFill>
                  <a:prstClr val="black"/>
                </a:solidFill>
              </a:rPr>
              <a:t> it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43" name="Picture 42" descr="image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7897" y="1844895"/>
            <a:ext cx="3366546" cy="3009571"/>
          </a:xfrm>
          <a:prstGeom prst="rect">
            <a:avLst/>
          </a:prstGeom>
        </p:spPr>
      </p:pic>
      <p:pic>
        <p:nvPicPr>
          <p:cNvPr id="53" name="Picture 52" descr="image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40203" y="1792616"/>
            <a:ext cx="469361" cy="47545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737155" y="4985735"/>
            <a:ext cx="5374346" cy="136836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 Placeholder 15"/>
          <p:cNvSpPr txBox="1">
            <a:spLocks/>
          </p:cNvSpPr>
          <p:nvPr/>
        </p:nvSpPr>
        <p:spPr>
          <a:xfrm>
            <a:off x="1212612" y="5283464"/>
            <a:ext cx="4730987" cy="74635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3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="0" dirty="0"/>
              <a:t>Do not confuse </a:t>
            </a:r>
            <a:r>
              <a:rPr lang="en-US" sz="2000" dirty="0">
                <a:solidFill>
                  <a:srgbClr val="00B1EB"/>
                </a:solidFill>
              </a:rPr>
              <a:t>standard</a:t>
            </a:r>
            <a:r>
              <a:rPr lang="en-US" sz="2000" b="0" dirty="0"/>
              <a:t> (</a:t>
            </a:r>
            <a:r>
              <a:rPr lang="en-US" sz="2000" dirty="0"/>
              <a:t>voluntary</a:t>
            </a:r>
            <a:r>
              <a:rPr lang="en-US" sz="2000" b="0" dirty="0"/>
              <a:t>) </a:t>
            </a:r>
          </a:p>
          <a:p>
            <a:pPr algn="l"/>
            <a:r>
              <a:rPr lang="en-US" sz="2000" b="0" dirty="0"/>
              <a:t>and </a:t>
            </a:r>
            <a:r>
              <a:rPr lang="en-US" sz="2000" dirty="0">
                <a:solidFill>
                  <a:srgbClr val="00B1EB"/>
                </a:solidFill>
              </a:rPr>
              <a:t>regulation</a:t>
            </a:r>
            <a:r>
              <a:rPr lang="en-US" sz="2000" b="0" dirty="0"/>
              <a:t> (</a:t>
            </a:r>
            <a:r>
              <a:rPr lang="en-US" sz="2000" dirty="0"/>
              <a:t>mandatory</a:t>
            </a:r>
            <a:r>
              <a:rPr lang="en-US" sz="2000" b="0" dirty="0"/>
              <a:t>)</a:t>
            </a:r>
            <a:endParaRPr lang="fr-FR" sz="2000" b="0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213483526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à coins arrondis 5"/>
          <p:cNvSpPr/>
          <p:nvPr/>
        </p:nvSpPr>
        <p:spPr>
          <a:xfrm>
            <a:off x="5155579" y="2975766"/>
            <a:ext cx="1203018" cy="21907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à coins arrondis 4"/>
          <p:cNvSpPr/>
          <p:nvPr/>
        </p:nvSpPr>
        <p:spPr>
          <a:xfrm>
            <a:off x="4290646" y="2338177"/>
            <a:ext cx="2419643" cy="1592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Organigramme : Alternative 3"/>
          <p:cNvSpPr/>
          <p:nvPr/>
        </p:nvSpPr>
        <p:spPr>
          <a:xfrm>
            <a:off x="4614203" y="1814732"/>
            <a:ext cx="520505" cy="212920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769441"/>
          </a:xfrm>
        </p:spPr>
        <p:txBody>
          <a:bodyPr/>
          <a:lstStyle/>
          <a:p>
            <a:r>
              <a:rPr lang="fr-FR" dirty="0"/>
              <a:t>THE VOLUNTARY STANDARD</a:t>
            </a:r>
            <a:br>
              <a:rPr lang="fr-FR" dirty="0"/>
            </a:br>
            <a:r>
              <a:rPr lang="fr-FR" dirty="0"/>
              <a:t>SERVING THE GENERAL INTEREST</a:t>
            </a:r>
            <a:endParaRPr lang="fr-FR" b="0" dirty="0"/>
          </a:p>
        </p:txBody>
      </p:sp>
      <p:grpSp>
        <p:nvGrpSpPr>
          <p:cNvPr id="21" name="Groupe 16"/>
          <p:cNvGrpSpPr/>
          <p:nvPr/>
        </p:nvGrpSpPr>
        <p:grpSpPr>
          <a:xfrm>
            <a:off x="1358326" y="4719638"/>
            <a:ext cx="6640450" cy="1862048"/>
            <a:chOff x="4309773" y="522538"/>
            <a:chExt cx="3610819" cy="2664147"/>
          </a:xfrm>
        </p:grpSpPr>
        <p:sp>
          <p:nvSpPr>
            <p:cNvPr id="22" name="Rectangle 21"/>
            <p:cNvSpPr/>
            <p:nvPr/>
          </p:nvSpPr>
          <p:spPr>
            <a:xfrm>
              <a:off x="4309773" y="906449"/>
              <a:ext cx="3610819" cy="1728579"/>
            </a:xfrm>
            <a:prstGeom prst="rect">
              <a:avLst/>
            </a:prstGeom>
            <a:solidFill>
              <a:srgbClr val="EFEF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3" name="TextBox 6"/>
            <p:cNvSpPr txBox="1"/>
            <p:nvPr/>
          </p:nvSpPr>
          <p:spPr>
            <a:xfrm>
              <a:off x="4828552" y="1118838"/>
              <a:ext cx="3092040" cy="11192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fr-FR" sz="1400" i="1" dirty="0"/>
                <a:t>La normalisation identifie de manière consensuelle les bonnes pratiques et les associe durablement à la vie de l’entreprise.</a:t>
              </a:r>
            </a:p>
          </p:txBody>
        </p:sp>
        <p:sp>
          <p:nvSpPr>
            <p:cNvPr id="24" name="TextBox 10"/>
            <p:cNvSpPr txBox="1"/>
            <p:nvPr/>
          </p:nvSpPr>
          <p:spPr>
            <a:xfrm>
              <a:off x="4800851" y="1988843"/>
              <a:ext cx="305056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e responsable de l’une des divisions Ingénierie d’EDF</a:t>
              </a:r>
            </a:p>
          </p:txBody>
        </p:sp>
        <p:sp>
          <p:nvSpPr>
            <p:cNvPr id="25" name="TextBox 29"/>
            <p:cNvSpPr txBox="1"/>
            <p:nvPr/>
          </p:nvSpPr>
          <p:spPr>
            <a:xfrm>
              <a:off x="4321486" y="522538"/>
              <a:ext cx="474414" cy="26641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500" b="1" spc="-300" dirty="0">
                  <a:solidFill>
                    <a:srgbClr val="00B1EB"/>
                  </a:solidFill>
                </a:rPr>
                <a:t>‘‘</a:t>
              </a:r>
            </a:p>
          </p:txBody>
        </p:sp>
        <p:sp>
          <p:nvSpPr>
            <p:cNvPr id="26" name="TextBox 30"/>
            <p:cNvSpPr txBox="1"/>
            <p:nvPr/>
          </p:nvSpPr>
          <p:spPr>
            <a:xfrm rot="10800000">
              <a:off x="7441256" y="1100388"/>
              <a:ext cx="238598" cy="110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400" b="1" spc="-150" dirty="0">
                  <a:solidFill>
                    <a:srgbClr val="00B1EB"/>
                  </a:solidFill>
                </a:rPr>
                <a:t>‘‘</a:t>
              </a:r>
            </a:p>
          </p:txBody>
        </p:sp>
      </p:grpSp>
      <p:pic>
        <p:nvPicPr>
          <p:cNvPr id="49" name="Picture 48" descr="image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23543" y="1605498"/>
            <a:ext cx="359899" cy="364573"/>
          </a:xfrm>
          <a:prstGeom prst="rect">
            <a:avLst/>
          </a:prstGeom>
        </p:spPr>
      </p:pic>
      <p:pic>
        <p:nvPicPr>
          <p:cNvPr id="50" name="Picture 49" descr="image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23543" y="2231595"/>
            <a:ext cx="359899" cy="364573"/>
          </a:xfrm>
          <a:prstGeom prst="rect">
            <a:avLst/>
          </a:prstGeom>
        </p:spPr>
      </p:pic>
      <p:pic>
        <p:nvPicPr>
          <p:cNvPr id="51" name="Picture 50" descr="image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23543" y="2973967"/>
            <a:ext cx="359899" cy="364573"/>
          </a:xfrm>
          <a:prstGeom prst="rect">
            <a:avLst/>
          </a:prstGeom>
        </p:spPr>
      </p:pic>
      <p:pic>
        <p:nvPicPr>
          <p:cNvPr id="52" name="Picture 51" descr="image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23543" y="3671618"/>
            <a:ext cx="359899" cy="364573"/>
          </a:xfrm>
          <a:prstGeom prst="rect">
            <a:avLst/>
          </a:prstGeom>
        </p:spPr>
      </p:pic>
      <p:pic>
        <p:nvPicPr>
          <p:cNvPr id="53" name="Picture 52" descr="image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23543" y="4226162"/>
            <a:ext cx="359899" cy="364573"/>
          </a:xfrm>
          <a:prstGeom prst="rect">
            <a:avLst/>
          </a:prstGeom>
        </p:spPr>
      </p:pic>
      <p:sp>
        <p:nvSpPr>
          <p:cNvPr id="32" name="Text Placeholder 15"/>
          <p:cNvSpPr txBox="1">
            <a:spLocks/>
          </p:cNvSpPr>
          <p:nvPr/>
        </p:nvSpPr>
        <p:spPr>
          <a:xfrm>
            <a:off x="1347485" y="1528211"/>
            <a:ext cx="6660235" cy="499441"/>
          </a:xfrm>
          <a:prstGeom prst="rect">
            <a:avLst/>
          </a:prstGeom>
          <a:noFill/>
        </p:spPr>
        <p:txBody>
          <a:bodyPr/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4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58775" algn="l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400" dirty="0"/>
              <a:t>For businesses</a:t>
            </a:r>
            <a:r>
              <a:rPr lang="en-US" sz="1400" b="0" dirty="0"/>
              <a:t>, the voluntary standard is synonymous with performance, competitiveness, quality, innovation and safety</a:t>
            </a:r>
            <a:endParaRPr lang="fr-FR" sz="1400" b="0" dirty="0">
              <a:solidFill>
                <a:prstClr val="black"/>
              </a:solidFill>
            </a:endParaRPr>
          </a:p>
        </p:txBody>
      </p:sp>
      <p:sp>
        <p:nvSpPr>
          <p:cNvPr id="33" name="Text Placeholder 15"/>
          <p:cNvSpPr txBox="1">
            <a:spLocks/>
          </p:cNvSpPr>
          <p:nvPr/>
        </p:nvSpPr>
        <p:spPr>
          <a:xfrm>
            <a:off x="1346400" y="2254051"/>
            <a:ext cx="6660235" cy="499441"/>
          </a:xfrm>
          <a:prstGeom prst="rect">
            <a:avLst/>
          </a:prstGeom>
          <a:noFill/>
        </p:spPr>
        <p:txBody>
          <a:bodyPr/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4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58775" algn="l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400" dirty="0"/>
              <a:t>For the company staff</a:t>
            </a:r>
            <a:r>
              <a:rPr lang="en-US" sz="1400" b="0" dirty="0"/>
              <a:t>, it improves working conditions and safety</a:t>
            </a:r>
            <a:endParaRPr lang="fr-FR" sz="1400" b="0" dirty="0">
              <a:solidFill>
                <a:prstClr val="black"/>
              </a:solidFill>
            </a:endParaRPr>
          </a:p>
        </p:txBody>
      </p:sp>
      <p:sp>
        <p:nvSpPr>
          <p:cNvPr id="34" name="Text Placeholder 15"/>
          <p:cNvSpPr txBox="1">
            <a:spLocks/>
          </p:cNvSpPr>
          <p:nvPr/>
        </p:nvSpPr>
        <p:spPr>
          <a:xfrm>
            <a:off x="1346400" y="2902398"/>
            <a:ext cx="6660235" cy="499441"/>
          </a:xfrm>
          <a:prstGeom prst="rect">
            <a:avLst/>
          </a:prstGeom>
          <a:noFill/>
        </p:spPr>
        <p:txBody>
          <a:bodyPr/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4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58775" algn="l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400" dirty="0"/>
              <a:t>For public stakeholders</a:t>
            </a:r>
            <a:r>
              <a:rPr lang="en-US" sz="1400" b="0" dirty="0"/>
              <a:t>, it helps to implement public policies and to address societal issues</a:t>
            </a:r>
            <a:endParaRPr lang="fr-FR" sz="1400" b="0" dirty="0">
              <a:solidFill>
                <a:prstClr val="black"/>
              </a:solidFill>
            </a:endParaRPr>
          </a:p>
        </p:txBody>
      </p:sp>
      <p:sp>
        <p:nvSpPr>
          <p:cNvPr id="35" name="Text Placeholder 15"/>
          <p:cNvSpPr txBox="1">
            <a:spLocks/>
          </p:cNvSpPr>
          <p:nvPr/>
        </p:nvSpPr>
        <p:spPr>
          <a:xfrm>
            <a:off x="1346400" y="3599819"/>
            <a:ext cx="6660235" cy="499441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4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58775" algn="l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400" dirty="0"/>
              <a:t>For local authorities</a:t>
            </a:r>
            <a:r>
              <a:rPr lang="en-US" sz="1400" b="0" dirty="0"/>
              <a:t>, it facilitates and simplifies their consultations and purchases</a:t>
            </a:r>
            <a:endParaRPr lang="fr-FR" sz="1400" b="0" dirty="0">
              <a:solidFill>
                <a:prstClr val="black"/>
              </a:solidFill>
            </a:endParaRPr>
          </a:p>
        </p:txBody>
      </p:sp>
      <p:sp>
        <p:nvSpPr>
          <p:cNvPr id="36" name="Text Placeholder 15"/>
          <p:cNvSpPr txBox="1">
            <a:spLocks/>
          </p:cNvSpPr>
          <p:nvPr/>
        </p:nvSpPr>
        <p:spPr>
          <a:xfrm>
            <a:off x="1346400" y="4266249"/>
            <a:ext cx="6660235" cy="499441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Font typeface="Arial" pitchFamily="34" charset="0"/>
              <a:buNone/>
              <a:defRPr lang="en-US" sz="1600" b="1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rgbClr val="FCDD2B"/>
              </a:buClr>
              <a:buSzPct val="80000"/>
              <a:buFontTx/>
              <a:buBlip>
                <a:blip r:embed="rId4"/>
              </a:buBlip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4513" indent="-180975" algn="just" defTabSz="914400" rtl="0" eaLnBrk="1" fontAlgn="base" latinLnBrk="0" hangingPunct="1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Wingdings 2" pitchFamily="18" charset="2"/>
              <a:buChar char="¡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23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en-US" sz="1600" kern="1200" dirty="0" smtClean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0113" indent="-180975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FCDD2B"/>
              </a:buClr>
              <a:buFont typeface="Wingdings" pitchFamily="2" charset="2"/>
              <a:buChar char="§"/>
              <a:defRPr lang="fr-FR" sz="1600" kern="1200" dirty="0">
                <a:solidFill>
                  <a:srgbClr val="000003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358775" algn="l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400" dirty="0"/>
              <a:t>For consumers</a:t>
            </a:r>
            <a:r>
              <a:rPr lang="en-US" sz="1400" b="0" dirty="0"/>
              <a:t>, it improves their trust in the purchased products and services</a:t>
            </a:r>
            <a:endParaRPr lang="fr-FR" sz="1400" b="0" dirty="0">
              <a:solidFill>
                <a:prstClr val="black"/>
              </a:solidFill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3772404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3328191" y="1632800"/>
            <a:ext cx="2576747" cy="4162384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3" name="Title 2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769441"/>
          </a:xfrm>
        </p:spPr>
        <p:txBody>
          <a:bodyPr/>
          <a:lstStyle/>
          <a:p>
            <a:r>
              <a:rPr lang="fr-FR" dirty="0"/>
              <a:t>THE VOLUNTARY STANDARD</a:t>
            </a:r>
            <a:br>
              <a:rPr lang="fr-FR" dirty="0"/>
            </a:br>
            <a:r>
              <a:rPr lang="fr-FR" dirty="0"/>
              <a:t>IN FIGURES IN France </a:t>
            </a:r>
            <a:r>
              <a:rPr lang="fr-FR" b="0" i="1" dirty="0"/>
              <a:t>(2016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07243" y="3375769"/>
            <a:ext cx="15953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b="1" dirty="0">
                <a:solidFill>
                  <a:srgbClr val="00B1EB"/>
                </a:solidFill>
              </a:rPr>
              <a:t>34 674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07243" y="3900293"/>
            <a:ext cx="2392691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dirty="0"/>
              <a:t>voluntary standards exist. </a:t>
            </a:r>
          </a:p>
          <a:p>
            <a:pPr>
              <a:lnSpc>
                <a:spcPct val="90000"/>
              </a:lnSpc>
            </a:pPr>
            <a:r>
              <a:rPr lang="en-US" sz="1400" dirty="0"/>
              <a:t>They concern </a:t>
            </a:r>
            <a:r>
              <a:rPr lang="en-US" sz="1400" b="1" dirty="0"/>
              <a:t>all sectors </a:t>
            </a:r>
            <a:r>
              <a:rPr lang="en-US" sz="1400" dirty="0"/>
              <a:t>of the world economy</a:t>
            </a:r>
            <a:endParaRPr lang="fr-FR" sz="1400" dirty="0"/>
          </a:p>
        </p:txBody>
      </p:sp>
      <p:grpSp>
        <p:nvGrpSpPr>
          <p:cNvPr id="40" name="Group 39"/>
          <p:cNvGrpSpPr/>
          <p:nvPr/>
        </p:nvGrpSpPr>
        <p:grpSpPr>
          <a:xfrm>
            <a:off x="4164794" y="1636557"/>
            <a:ext cx="1706250" cy="3128518"/>
            <a:chOff x="3649706" y="1877268"/>
            <a:chExt cx="1706250" cy="3128518"/>
          </a:xfrm>
        </p:grpSpPr>
        <p:sp>
          <p:nvSpPr>
            <p:cNvPr id="41" name="TextBox 40"/>
            <p:cNvSpPr txBox="1"/>
            <p:nvPr/>
          </p:nvSpPr>
          <p:spPr>
            <a:xfrm>
              <a:off x="3745491" y="1877268"/>
              <a:ext cx="1087157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400" dirty="0">
                  <a:solidFill>
                    <a:srgbClr val="00B1EB"/>
                  </a:solidFill>
                </a:rPr>
                <a:t>90</a:t>
              </a:r>
              <a:r>
                <a:rPr lang="fr-FR" sz="3600" baseline="30000" dirty="0">
                  <a:solidFill>
                    <a:srgbClr val="00B1EB"/>
                  </a:solidFill>
                </a:rPr>
                <a:t>%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745492" y="2493812"/>
              <a:ext cx="1610464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dirty="0"/>
                <a:t>of the standards are of European or international origin</a:t>
              </a:r>
              <a:endParaRPr lang="fr-FR" sz="1200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725453" y="3077000"/>
              <a:ext cx="112723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400" dirty="0">
                  <a:solidFill>
                    <a:srgbClr val="00B1EB"/>
                  </a:solidFill>
                </a:rPr>
                <a:t>633</a:t>
              </a:r>
              <a:endParaRPr lang="fr-FR" sz="3600" baseline="30000" dirty="0">
                <a:solidFill>
                  <a:srgbClr val="00B1EB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3725453" y="3671009"/>
              <a:ext cx="1610464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dirty="0"/>
                <a:t>new standards have been published</a:t>
              </a:r>
              <a:endParaRPr lang="fr-FR" sz="1200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649706" y="4006483"/>
              <a:ext cx="112723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400" dirty="0">
                  <a:solidFill>
                    <a:srgbClr val="00B1EB"/>
                  </a:solidFill>
                </a:rPr>
                <a:t>334</a:t>
              </a:r>
              <a:endParaRPr lang="fr-FR" sz="3600" baseline="30000" dirty="0">
                <a:solidFill>
                  <a:srgbClr val="00B1EB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686617" y="4581054"/>
              <a:ext cx="1610464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fr-FR" sz="1200" dirty="0"/>
                <a:t>standards have been withdrawn</a:t>
              </a:r>
            </a:p>
          </p:txBody>
        </p:sp>
      </p:grpSp>
      <p:pic>
        <p:nvPicPr>
          <p:cNvPr id="59" name="Picture 58" descr="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28" y="2799670"/>
            <a:ext cx="469361" cy="536412"/>
          </a:xfrm>
          <a:prstGeom prst="rect">
            <a:avLst/>
          </a:prstGeom>
        </p:spPr>
      </p:pic>
      <p:pic>
        <p:nvPicPr>
          <p:cNvPr id="61" name="Picture 60" descr="7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034" y="1819238"/>
            <a:ext cx="499839" cy="499839"/>
          </a:xfrm>
          <a:prstGeom prst="rect">
            <a:avLst/>
          </a:prstGeom>
        </p:spPr>
      </p:pic>
      <p:pic>
        <p:nvPicPr>
          <p:cNvPr id="62" name="Picture 61" descr="8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034" y="3022387"/>
            <a:ext cx="451074" cy="432787"/>
          </a:xfrm>
          <a:prstGeom prst="rect">
            <a:avLst/>
          </a:prstGeom>
        </p:spPr>
      </p:pic>
      <p:pic>
        <p:nvPicPr>
          <p:cNvPr id="63" name="Picture 62" descr="9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938" y="4955377"/>
            <a:ext cx="457170" cy="414500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3717939" y="3984220"/>
            <a:ext cx="319638" cy="442111"/>
            <a:chOff x="6267258" y="2218152"/>
            <a:chExt cx="827315" cy="742951"/>
          </a:xfrm>
        </p:grpSpPr>
        <p:sp>
          <p:nvSpPr>
            <p:cNvPr id="20" name="Carré corné 19"/>
            <p:cNvSpPr/>
            <p:nvPr/>
          </p:nvSpPr>
          <p:spPr>
            <a:xfrm>
              <a:off x="6267258" y="2218152"/>
              <a:ext cx="827315" cy="742951"/>
            </a:xfrm>
            <a:prstGeom prst="foldedCorner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482279" y="2530703"/>
              <a:ext cx="397272" cy="103981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4" name="TextBox 44"/>
          <p:cNvSpPr txBox="1"/>
          <p:nvPr/>
        </p:nvSpPr>
        <p:spPr>
          <a:xfrm>
            <a:off x="4228134" y="4695255"/>
            <a:ext cx="159851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400" dirty="0">
                <a:solidFill>
                  <a:srgbClr val="00B1EB"/>
                </a:solidFill>
              </a:rPr>
              <a:t>1 334</a:t>
            </a:r>
            <a:endParaRPr lang="fr-FR" sz="3600" baseline="30000" dirty="0">
              <a:solidFill>
                <a:srgbClr val="00B1EB"/>
              </a:solidFill>
            </a:endParaRPr>
          </a:p>
        </p:txBody>
      </p:sp>
      <p:sp>
        <p:nvSpPr>
          <p:cNvPr id="25" name="TextBox 45"/>
          <p:cNvSpPr txBox="1"/>
          <p:nvPr/>
        </p:nvSpPr>
        <p:spPr>
          <a:xfrm>
            <a:off x="4260579" y="5315918"/>
            <a:ext cx="161046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200" dirty="0"/>
              <a:t>standards have been revised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7031608" y="6188471"/>
            <a:ext cx="24525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/>
              <a:t>Source chiffres AFNOR 2016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87912518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61747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Rectangle 12"/>
          <p:cNvSpPr/>
          <p:nvPr/>
        </p:nvSpPr>
        <p:spPr>
          <a:xfrm>
            <a:off x="6089460" y="2272963"/>
            <a:ext cx="1862344" cy="2309774"/>
          </a:xfrm>
          <a:prstGeom prst="rect">
            <a:avLst/>
          </a:prstGeom>
          <a:solidFill>
            <a:srgbClr val="FF48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4" name="TextBox 13"/>
          <p:cNvSpPr txBox="1"/>
          <p:nvPr/>
        </p:nvSpPr>
        <p:spPr>
          <a:xfrm>
            <a:off x="121921" y="2608243"/>
            <a:ext cx="586799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3600" b="1" dirty="0">
                <a:solidFill>
                  <a:srgbClr val="00B1EB"/>
                </a:solidFill>
              </a:rPr>
              <a:t>THE STANDARDIZATION :</a:t>
            </a:r>
          </a:p>
          <a:p>
            <a:pPr algn="r"/>
            <a:r>
              <a:rPr lang="fr-FR" sz="3200" b="1" dirty="0"/>
              <a:t>BENEFITS FOR YOUR WHOLE ORGANIZATI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035924" y="2077955"/>
            <a:ext cx="1961893" cy="2646878"/>
          </a:xfrm>
          <a:prstGeom prst="rect">
            <a:avLst/>
          </a:prstGeom>
          <a:solidFill>
            <a:srgbClr val="00B1EB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fr-FR" sz="166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265874184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>
            <a:spLocks noGrp="1"/>
          </p:cNvSpPr>
          <p:nvPr>
            <p:ph type="title"/>
          </p:nvPr>
        </p:nvSpPr>
        <p:spPr>
          <a:xfrm>
            <a:off x="641350" y="544828"/>
            <a:ext cx="7861300" cy="769441"/>
          </a:xfrm>
        </p:spPr>
        <p:txBody>
          <a:bodyPr/>
          <a:lstStyle/>
          <a:p>
            <a:r>
              <a:rPr lang="en-US" dirty="0"/>
              <a:t>A TOOL THAT PARTICIPATES FULLY IN THE DEVELOPMENT OF YOUR ORGANIZATION</a:t>
            </a:r>
            <a:endParaRPr lang="en-US" dirty="0">
              <a:effectLst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715598" y="4140908"/>
            <a:ext cx="1849823" cy="1323439"/>
          </a:xfrm>
          <a:prstGeom prst="rect">
            <a:avLst/>
          </a:prstGeom>
          <a:solidFill>
            <a:srgbClr val="EFEFEF"/>
          </a:solidFill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dirty="0"/>
              <a:t>Have strong arguments to differentiate yourself from the </a:t>
            </a:r>
            <a:r>
              <a:rPr lang="en-US" sz="1600" b="1" dirty="0">
                <a:solidFill>
                  <a:srgbClr val="00B1EB"/>
                </a:solidFill>
              </a:rPr>
              <a:t>competition</a:t>
            </a:r>
            <a:endParaRPr lang="fr-FR" sz="1600" b="1" dirty="0">
              <a:solidFill>
                <a:srgbClr val="00B1EB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960531" y="2197179"/>
            <a:ext cx="2407321" cy="830997"/>
          </a:xfrm>
          <a:prstGeom prst="rect">
            <a:avLst/>
          </a:prstGeom>
          <a:solidFill>
            <a:srgbClr val="EFEFEF"/>
          </a:solidFill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dirty="0"/>
              <a:t>Improve the efficiency and performance of your </a:t>
            </a:r>
            <a:r>
              <a:rPr lang="en-US" sz="1600" b="1" dirty="0">
                <a:solidFill>
                  <a:srgbClr val="00B1EB"/>
                </a:solidFill>
              </a:rPr>
              <a:t>products / services</a:t>
            </a:r>
            <a:endParaRPr lang="fr-FR" sz="1600" b="1" dirty="0">
              <a:solidFill>
                <a:srgbClr val="00B1EB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960531" y="4157307"/>
            <a:ext cx="2407321" cy="1077218"/>
          </a:xfrm>
          <a:prstGeom prst="rect">
            <a:avLst/>
          </a:prstGeom>
          <a:solidFill>
            <a:srgbClr val="EFEFEF"/>
          </a:solidFill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dirty="0"/>
              <a:t>Enhance your </a:t>
            </a:r>
            <a:r>
              <a:rPr lang="en-US" sz="1600" b="1" dirty="0">
                <a:solidFill>
                  <a:srgbClr val="00B1EB"/>
                </a:solidFill>
              </a:rPr>
              <a:t>image</a:t>
            </a:r>
            <a:r>
              <a:rPr lang="en-US" sz="1600" dirty="0"/>
              <a:t> by communicating about your participation in standardization</a:t>
            </a:r>
            <a:endParaRPr lang="fr-FR" sz="1600" dirty="0"/>
          </a:p>
        </p:txBody>
      </p:sp>
      <p:sp>
        <p:nvSpPr>
          <p:cNvPr id="19" name="TextBox 18"/>
          <p:cNvSpPr txBox="1"/>
          <p:nvPr/>
        </p:nvSpPr>
        <p:spPr>
          <a:xfrm>
            <a:off x="773157" y="2197179"/>
            <a:ext cx="2416836" cy="830997"/>
          </a:xfrm>
          <a:prstGeom prst="rect">
            <a:avLst/>
          </a:prstGeom>
          <a:solidFill>
            <a:srgbClr val="EFEFEF"/>
          </a:solidFill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dirty="0"/>
              <a:t>Use standards as a lever for deploying your </a:t>
            </a:r>
            <a:r>
              <a:rPr lang="en-US" sz="1600" b="1" dirty="0">
                <a:solidFill>
                  <a:srgbClr val="00B1EB"/>
                </a:solidFill>
              </a:rPr>
              <a:t>R&amp;D</a:t>
            </a:r>
            <a:endParaRPr lang="fr-FR" sz="1600" b="1" dirty="0">
              <a:solidFill>
                <a:srgbClr val="00B1EB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715598" y="2197179"/>
            <a:ext cx="1849823" cy="1077218"/>
          </a:xfrm>
          <a:prstGeom prst="rect">
            <a:avLst/>
          </a:prstGeom>
          <a:solidFill>
            <a:srgbClr val="EFEFE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Perform an active </a:t>
            </a:r>
            <a:r>
              <a:rPr lang="en-US" sz="1600" b="1" dirty="0">
                <a:solidFill>
                  <a:srgbClr val="00B1EB"/>
                </a:solidFill>
              </a:rPr>
              <a:t>strategic intelligence </a:t>
            </a:r>
            <a:r>
              <a:rPr lang="en-US" sz="1600" dirty="0"/>
              <a:t>on your sector</a:t>
            </a:r>
            <a:endParaRPr lang="en-US" sz="1600" dirty="0">
              <a:effectLst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53343" y="4157307"/>
            <a:ext cx="2436649" cy="584775"/>
          </a:xfrm>
          <a:prstGeom prst="rect">
            <a:avLst/>
          </a:prstGeom>
          <a:solidFill>
            <a:srgbClr val="EFEFEF"/>
          </a:solidFill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dirty="0"/>
              <a:t>Increase your </a:t>
            </a:r>
            <a:r>
              <a:rPr lang="en-US" sz="1600" b="1" dirty="0">
                <a:solidFill>
                  <a:srgbClr val="00B1EB"/>
                </a:solidFill>
              </a:rPr>
              <a:t>turnover</a:t>
            </a:r>
            <a:r>
              <a:rPr lang="en-US" sz="1600" dirty="0"/>
              <a:t> and develop your </a:t>
            </a:r>
            <a:r>
              <a:rPr lang="en-US" sz="1600" b="1" dirty="0">
                <a:solidFill>
                  <a:srgbClr val="00B1EB"/>
                </a:solidFill>
              </a:rPr>
              <a:t>export</a:t>
            </a:r>
            <a:endParaRPr lang="fr-FR" sz="1600" b="1" dirty="0">
              <a:solidFill>
                <a:srgbClr val="00B1EB"/>
              </a:solidFill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noProof="0" dirty="0"/>
              <a:t>2018-04-11</a:t>
            </a:r>
          </a:p>
        </p:txBody>
      </p:sp>
    </p:spTree>
    <p:extLst>
      <p:ext uri="{BB962C8B-B14F-4D97-AF65-F5344CB8AC3E}">
        <p14:creationId xmlns:p14="http://schemas.microsoft.com/office/powerpoint/2010/main" val="379430700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880240" y="2562285"/>
            <a:ext cx="500385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3200" b="1" dirty="0">
                <a:solidFill>
                  <a:schemeClr val="bg1"/>
                </a:solidFill>
              </a:rPr>
              <a:t>STANDARDIZA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880240" y="3073924"/>
            <a:ext cx="5507252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b="1" dirty="0">
                <a:solidFill>
                  <a:schemeClr val="bg1"/>
                </a:solidFill>
              </a:rPr>
              <a:t>IS SIMPLE AND WE ACCOMPANY YOU</a:t>
            </a:r>
            <a:endParaRPr lang="fr-FR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11045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FNOR Jaune">
  <a:themeElements>
    <a:clrScheme name="Personnalisée 41">
      <a:dk1>
        <a:srgbClr val="000000"/>
      </a:dk1>
      <a:lt1>
        <a:srgbClr val="FFFFFF"/>
      </a:lt1>
      <a:dk2>
        <a:srgbClr val="BEBEBE"/>
      </a:dk2>
      <a:lt2>
        <a:srgbClr val="EFEFEF"/>
      </a:lt2>
      <a:accent1>
        <a:srgbClr val="00B1EB"/>
      </a:accent1>
      <a:accent2>
        <a:srgbClr val="58B03E"/>
      </a:accent2>
      <a:accent3>
        <a:srgbClr val="FFE030"/>
      </a:accent3>
      <a:accent4>
        <a:srgbClr val="595959"/>
      </a:accent4>
      <a:accent5>
        <a:srgbClr val="7F7F7F"/>
      </a:accent5>
      <a:accent6>
        <a:srgbClr val="BFBFBF"/>
      </a:accent6>
      <a:hlink>
        <a:srgbClr val="0000FF"/>
      </a:hlink>
      <a:folHlink>
        <a:srgbClr val="800080"/>
      </a:folHlink>
    </a:clrScheme>
    <a:fontScheme name="ANFA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barit PPT UAN bleu GB.pptx" id="{F6C533D6-7C10-4F38-8861-B4FD330CED3C}" vid="{40C4B146-3CBD-44EE-8467-9DE2553EA3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abarit_GB_PPT_UAN_bleu</Template>
  <TotalTime>0</TotalTime>
  <Words>919</Words>
  <Application>Microsoft Office PowerPoint</Application>
  <PresentationFormat>Bildschirmpräsentation (4:3)</PresentationFormat>
  <Paragraphs>250</Paragraphs>
  <Slides>18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5" baseType="lpstr">
      <vt:lpstr>Arial</vt:lpstr>
      <vt:lpstr>Arial Black</vt:lpstr>
      <vt:lpstr>Calibri</vt:lpstr>
      <vt:lpstr>Wingdings</vt:lpstr>
      <vt:lpstr>Wingdings 2</vt:lpstr>
      <vt:lpstr>AFNOR Jaune</vt:lpstr>
      <vt:lpstr>think-cell Slide</vt:lpstr>
      <vt:lpstr>THE VOLUNTARY STANDARDIZATION</vt:lpstr>
      <vt:lpstr>PowerPoint-Präsentation</vt:lpstr>
      <vt:lpstr>A FRAMEWORK FOR REFERENCE</vt:lpstr>
      <vt:lpstr>A collectively co-produced tool OF VOLUNTARY IMPLEMENTATION</vt:lpstr>
      <vt:lpstr>THE VOLUNTARY STANDARD SERVING THE GENERAL INTEREST</vt:lpstr>
      <vt:lpstr>THE VOLUNTARY STANDARD IN FIGURES IN France (2016)</vt:lpstr>
      <vt:lpstr>PowerPoint-Präsentation</vt:lpstr>
      <vt:lpstr>A TOOL THAT PARTICIPATES FULLY IN THE DEVELOPMENT OF YOUR ORGANIZATION</vt:lpstr>
      <vt:lpstr>PowerPoint-Präsentation</vt:lpstr>
      <vt:lpstr>WE ACCOMPANY YOU</vt:lpstr>
      <vt:lpstr>STANDARDIZATION STEP BY STEP</vt:lpstr>
      <vt:lpstr>THE VOLUNTARY Standardization : who ASKS FOR IT ?</vt:lpstr>
      <vt:lpstr>THE CEN DELIVRABLES</vt:lpstr>
      <vt:lpstr>DEVELOPPING A EUROPEAN STANDARD (EN)</vt:lpstr>
      <vt:lpstr>DEVELOPPING A CEN Workshop Agreement (CWA)</vt:lpstr>
      <vt:lpstr>FUNDING</vt:lpstr>
      <vt:lpstr>In summary</vt:lpstr>
      <vt:lpstr>PowerPoint-Präsentation</vt:lpstr>
    </vt:vector>
  </TitlesOfParts>
  <Company>Afno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</dc:title>
  <dc:creator>commo jeanloup</dc:creator>
  <cp:lastModifiedBy>Wachs</cp:lastModifiedBy>
  <cp:revision>520</cp:revision>
  <cp:lastPrinted>2018-03-08T12:57:05Z</cp:lastPrinted>
  <dcterms:created xsi:type="dcterms:W3CDTF">2018-02-28T08:30:54Z</dcterms:created>
  <dcterms:modified xsi:type="dcterms:W3CDTF">2018-04-10T07:50:54Z</dcterms:modified>
</cp:coreProperties>
</file>